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notesMasterIdLst>
    <p:notesMasterId r:id="rId6"/>
  </p:notesMasterIdLst>
  <p:handoutMasterIdLst>
    <p:handoutMasterId r:id="rId7"/>
  </p:handoutMasterIdLst>
  <p:sldIdLst>
    <p:sldId id="659" r:id="rId2"/>
    <p:sldId id="662" r:id="rId3"/>
    <p:sldId id="660" r:id="rId4"/>
    <p:sldId id="664" r:id="rId5"/>
  </p:sldIdLst>
  <p:sldSz cx="12192000" cy="6858000"/>
  <p:notesSz cx="12192000" cy="6858000"/>
  <p:custDataLst>
    <p:tags r:id="rId8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D4DB214-2E4F-4499-B2BA-2DF12A940076}">
          <p14:sldIdLst>
            <p14:sldId id="659"/>
            <p14:sldId id="662"/>
            <p14:sldId id="660"/>
            <p14:sldId id="6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933" userDrawn="1">
          <p15:clr>
            <a:srgbClr val="A4A3A4"/>
          </p15:clr>
        </p15:guide>
        <p15:guide id="2" orient="horz" pos="2886" userDrawn="1">
          <p15:clr>
            <a:srgbClr val="A4A3A4"/>
          </p15:clr>
        </p15:guide>
        <p15:guide id="3" pos="710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pos="70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urs Aurélie" initials="MA" lastIdx="2" clrIdx="0"/>
  <p:cmAuthor id="2" name="Reviewer" initials="LBT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AE52"/>
    <a:srgbClr val="FF7300"/>
    <a:srgbClr val="1D599B"/>
    <a:srgbClr val="41955F"/>
    <a:srgbClr val="A7C9EF"/>
    <a:srgbClr val="FFD1AB"/>
    <a:srgbClr val="FFFFFF"/>
    <a:srgbClr val="F2F2F2"/>
    <a:srgbClr val="009900"/>
    <a:srgbClr val="C506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57F012-956E-4DB5-A665-DD7A41FBF1D6}" v="5" dt="2020-02-17T15:04:23.29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4" autoAdjust="0"/>
    <p:restoredTop sz="94590" autoAdjust="0"/>
  </p:normalViewPr>
  <p:slideViewPr>
    <p:cSldViewPr>
      <p:cViewPr varScale="1">
        <p:scale>
          <a:sx n="65" d="100"/>
          <a:sy n="65" d="100"/>
        </p:scale>
        <p:origin x="724" y="40"/>
      </p:cViewPr>
      <p:guideLst>
        <p:guide orient="horz" pos="1933"/>
        <p:guide orient="horz" pos="2886"/>
        <p:guide pos="710"/>
        <p:guide orient="horz" pos="799"/>
        <p:guide pos="70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5" d="100"/>
          <a:sy n="95" d="100"/>
        </p:scale>
        <p:origin x="482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66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CEAC62-A664-44A1-9405-90A159575E91}" type="doc">
      <dgm:prSet loTypeId="urn:microsoft.com/office/officeart/2005/8/layout/hierarchy3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sv-SE"/>
        </a:p>
      </dgm:t>
    </dgm:pt>
    <dgm:pt modelId="{73AD432D-601F-464F-81E0-F3FE39A413EF}">
      <dgm:prSet custT="1"/>
      <dgm:spPr/>
      <dgm:t>
        <a:bodyPr/>
        <a:lstStyle/>
        <a:p>
          <a:pPr rtl="0"/>
          <a:r>
            <a:rPr lang="sv-SE" sz="1600" dirty="0" err="1" smtClean="0"/>
            <a:t>Converter</a:t>
          </a:r>
          <a:endParaRPr lang="sv-SE" sz="1600" dirty="0" smtClean="0"/>
        </a:p>
      </dgm:t>
    </dgm:pt>
    <dgm:pt modelId="{647CF8F4-90FA-4FA1-9C67-1D3569F60785}" type="parTrans" cxnId="{FC058D1C-9BA8-4C34-AA43-0C591B53F33C}">
      <dgm:prSet/>
      <dgm:spPr/>
      <dgm:t>
        <a:bodyPr/>
        <a:lstStyle/>
        <a:p>
          <a:endParaRPr lang="sv-SE"/>
        </a:p>
      </dgm:t>
    </dgm:pt>
    <dgm:pt modelId="{80D46721-E67F-47A8-BA0A-251BEB94EA5F}" type="sibTrans" cxnId="{FC058D1C-9BA8-4C34-AA43-0C591B53F33C}">
      <dgm:prSet/>
      <dgm:spPr/>
      <dgm:t>
        <a:bodyPr/>
        <a:lstStyle/>
        <a:p>
          <a:endParaRPr lang="sv-SE"/>
        </a:p>
      </dgm:t>
    </dgm:pt>
    <dgm:pt modelId="{440C719F-8B8D-4320-BAFA-2354EB84DFE0}">
      <dgm:prSet custT="1"/>
      <dgm:spPr/>
      <dgm:t>
        <a:bodyPr/>
        <a:lstStyle/>
        <a:p>
          <a:pPr rtl="0"/>
          <a:r>
            <a:rPr lang="sv-SE" sz="1600" dirty="0" smtClean="0"/>
            <a:t>Cables</a:t>
          </a:r>
          <a:endParaRPr lang="sv-SE" sz="1600" dirty="0"/>
        </a:p>
      </dgm:t>
    </dgm:pt>
    <dgm:pt modelId="{A82FD1D8-744F-41BA-80C0-6FE2EBB03F09}" type="parTrans" cxnId="{43E2EE33-51C5-411C-8FDD-7FE029A9C062}">
      <dgm:prSet/>
      <dgm:spPr/>
      <dgm:t>
        <a:bodyPr/>
        <a:lstStyle/>
        <a:p>
          <a:endParaRPr lang="sv-SE"/>
        </a:p>
      </dgm:t>
    </dgm:pt>
    <dgm:pt modelId="{30CB5A2B-4E83-4D15-805F-619CDF10DA25}" type="sibTrans" cxnId="{43E2EE33-51C5-411C-8FDD-7FE029A9C062}">
      <dgm:prSet/>
      <dgm:spPr/>
      <dgm:t>
        <a:bodyPr/>
        <a:lstStyle/>
        <a:p>
          <a:endParaRPr lang="sv-SE"/>
        </a:p>
      </dgm:t>
    </dgm:pt>
    <dgm:pt modelId="{00B991B4-BCF9-40AD-B425-2056DE33800A}">
      <dgm:prSet custT="1"/>
      <dgm:spPr/>
      <dgm:t>
        <a:bodyPr/>
        <a:lstStyle/>
        <a:p>
          <a:r>
            <a:rPr lang="en-US" sz="1400" dirty="0" smtClean="0"/>
            <a:t>Tubing </a:t>
          </a:r>
        </a:p>
        <a:p>
          <a:r>
            <a:rPr lang="en-US" sz="1400" dirty="0" smtClean="0"/>
            <a:t>(Civil works </a:t>
          </a:r>
        </a:p>
        <a:p>
          <a:r>
            <a:rPr lang="en-US" sz="1400" dirty="0" smtClean="0"/>
            <a:t>for the cable route) German side</a:t>
          </a:r>
          <a:endParaRPr lang="en-US" sz="1600" dirty="0" smtClean="0"/>
        </a:p>
      </dgm:t>
    </dgm:pt>
    <dgm:pt modelId="{5B63AB2A-AB3A-440A-BA09-6CE368B0FECF}" type="parTrans" cxnId="{0E26BAB6-3DF0-492A-B320-50DB8D3DF7BE}">
      <dgm:prSet/>
      <dgm:spPr/>
      <dgm:t>
        <a:bodyPr/>
        <a:lstStyle/>
        <a:p>
          <a:endParaRPr lang="sv-SE"/>
        </a:p>
      </dgm:t>
    </dgm:pt>
    <dgm:pt modelId="{C78094A0-5D5D-4C2E-8D14-1E08528ACDCF}" type="sibTrans" cxnId="{0E26BAB6-3DF0-492A-B320-50DB8D3DF7BE}">
      <dgm:prSet/>
      <dgm:spPr/>
      <dgm:t>
        <a:bodyPr/>
        <a:lstStyle/>
        <a:p>
          <a:endParaRPr lang="sv-SE"/>
        </a:p>
      </dgm:t>
    </dgm:pt>
    <dgm:pt modelId="{097B91CC-7A59-4616-8DDF-827B90346193}">
      <dgm:prSet custT="1"/>
      <dgm:spPr/>
      <dgm:t>
        <a:bodyPr/>
        <a:lstStyle/>
        <a:p>
          <a:pPr algn="l"/>
          <a:r>
            <a:rPr lang="sv-SE" sz="1400" dirty="0" err="1" smtClean="0"/>
            <a:t>Turn-key</a:t>
          </a:r>
          <a:r>
            <a:rPr lang="sv-SE" sz="1400" dirty="0" smtClean="0"/>
            <a:t> </a:t>
          </a:r>
          <a:r>
            <a:rPr lang="sv-SE" sz="1400" dirty="0" err="1" smtClean="0"/>
            <a:t>contract</a:t>
          </a:r>
          <a:endParaRPr lang="sv-SE" sz="1400" dirty="0"/>
        </a:p>
      </dgm:t>
    </dgm:pt>
    <dgm:pt modelId="{F31C3FD5-2080-463E-A4F7-1F9F737BDDA1}" type="parTrans" cxnId="{F1E1828A-AC4E-43AE-A1A6-8D56433FB672}">
      <dgm:prSet/>
      <dgm:spPr/>
      <dgm:t>
        <a:bodyPr/>
        <a:lstStyle/>
        <a:p>
          <a:endParaRPr lang="sv-SE"/>
        </a:p>
      </dgm:t>
    </dgm:pt>
    <dgm:pt modelId="{D19A4B26-B7FA-49F5-9588-11169CC5F9A4}" type="sibTrans" cxnId="{F1E1828A-AC4E-43AE-A1A6-8D56433FB672}">
      <dgm:prSet/>
      <dgm:spPr/>
      <dgm:t>
        <a:bodyPr/>
        <a:lstStyle/>
        <a:p>
          <a:endParaRPr lang="sv-SE"/>
        </a:p>
      </dgm:t>
    </dgm:pt>
    <dgm:pt modelId="{0A350655-CC96-4C10-B012-A0E8185DF695}">
      <dgm:prSet custT="1"/>
      <dgm:spPr/>
      <dgm:t>
        <a:bodyPr/>
        <a:lstStyle/>
        <a:p>
          <a:r>
            <a:rPr lang="sv-SE" sz="1400" dirty="0" err="1" smtClean="0"/>
            <a:t>Turn-key</a:t>
          </a:r>
          <a:r>
            <a:rPr lang="sv-SE" sz="1400" dirty="0" smtClean="0"/>
            <a:t> </a:t>
          </a:r>
          <a:r>
            <a:rPr lang="sv-SE" sz="1400" dirty="0" err="1" smtClean="0"/>
            <a:t>contract</a:t>
          </a:r>
          <a:endParaRPr lang="sv-SE" sz="1400" dirty="0"/>
        </a:p>
      </dgm:t>
    </dgm:pt>
    <dgm:pt modelId="{42940D72-0619-4856-82B5-A45DE5AC34E2}" type="parTrans" cxnId="{7E73DBD0-2139-44BD-9667-EA104C09F1F7}">
      <dgm:prSet/>
      <dgm:spPr/>
      <dgm:t>
        <a:bodyPr/>
        <a:lstStyle/>
        <a:p>
          <a:endParaRPr lang="sv-SE"/>
        </a:p>
      </dgm:t>
    </dgm:pt>
    <dgm:pt modelId="{09425FF8-AE43-4CB6-946E-65229AF88893}" type="sibTrans" cxnId="{7E73DBD0-2139-44BD-9667-EA104C09F1F7}">
      <dgm:prSet/>
      <dgm:spPr/>
      <dgm:t>
        <a:bodyPr/>
        <a:lstStyle/>
        <a:p>
          <a:endParaRPr lang="sv-SE"/>
        </a:p>
      </dgm:t>
    </dgm:pt>
    <dgm:pt modelId="{A9DBBA44-36B0-4BD5-9368-054E283C1E37}">
      <dgm:prSet custT="1"/>
      <dgm:spPr/>
      <dgm:t>
        <a:bodyPr/>
        <a:lstStyle/>
        <a:p>
          <a:pPr algn="l"/>
          <a:r>
            <a:rPr lang="en-US" sz="1400" dirty="0" smtClean="0"/>
            <a:t>One tripartite contract</a:t>
          </a:r>
          <a:endParaRPr lang="sv-SE" sz="1400" dirty="0"/>
        </a:p>
      </dgm:t>
    </dgm:pt>
    <dgm:pt modelId="{B4105C8C-7C39-4C8D-8072-17352C0FD204}" type="parTrans" cxnId="{879F5B4A-DB23-463B-8962-FA23D3840EA1}">
      <dgm:prSet/>
      <dgm:spPr/>
      <dgm:t>
        <a:bodyPr/>
        <a:lstStyle/>
        <a:p>
          <a:endParaRPr lang="sv-SE"/>
        </a:p>
      </dgm:t>
    </dgm:pt>
    <dgm:pt modelId="{2672C666-F438-44BC-99D2-72F48C414CAA}" type="sibTrans" cxnId="{879F5B4A-DB23-463B-8962-FA23D3840EA1}">
      <dgm:prSet/>
      <dgm:spPr/>
      <dgm:t>
        <a:bodyPr/>
        <a:lstStyle/>
        <a:p>
          <a:endParaRPr lang="sv-SE"/>
        </a:p>
      </dgm:t>
    </dgm:pt>
    <dgm:pt modelId="{E7C8B221-8DC2-4BA3-93F4-641DC9B24398}">
      <dgm:prSet custT="1"/>
      <dgm:spPr/>
      <dgm:t>
        <a:bodyPr/>
        <a:lstStyle/>
        <a:p>
          <a:r>
            <a:rPr lang="en-US" sz="1400" dirty="0" smtClean="0"/>
            <a:t>One tripartite contract</a:t>
          </a:r>
          <a:endParaRPr lang="sv-SE" sz="1400" dirty="0"/>
        </a:p>
      </dgm:t>
    </dgm:pt>
    <dgm:pt modelId="{7921C957-2A9F-4497-A96E-94F1DB43F1C6}" type="parTrans" cxnId="{E795140A-F7E4-408D-BCB4-E02DF8980AF7}">
      <dgm:prSet/>
      <dgm:spPr/>
      <dgm:t>
        <a:bodyPr/>
        <a:lstStyle/>
        <a:p>
          <a:endParaRPr lang="sv-SE"/>
        </a:p>
      </dgm:t>
    </dgm:pt>
    <dgm:pt modelId="{FD3ED326-100D-4A9E-A301-C48A33A02523}" type="sibTrans" cxnId="{E795140A-F7E4-408D-BCB4-E02DF8980AF7}">
      <dgm:prSet/>
      <dgm:spPr/>
      <dgm:t>
        <a:bodyPr/>
        <a:lstStyle/>
        <a:p>
          <a:endParaRPr lang="sv-SE"/>
        </a:p>
      </dgm:t>
    </dgm:pt>
    <dgm:pt modelId="{6BAC3582-C935-4805-84C0-5ABCB5DBCE72}">
      <dgm:prSet custT="1"/>
      <dgm:spPr/>
      <dgm:t>
        <a:bodyPr/>
        <a:lstStyle/>
        <a:p>
          <a:pPr algn="l"/>
          <a:r>
            <a:rPr lang="en-US" sz="1400" dirty="0" smtClean="0"/>
            <a:t>Common procurement (lead </a:t>
          </a:r>
          <a:r>
            <a:rPr lang="en-US" sz="1400" dirty="0" err="1" smtClean="0"/>
            <a:t>Svk</a:t>
          </a:r>
          <a:r>
            <a:rPr lang="en-US" sz="1400" dirty="0" smtClean="0"/>
            <a:t>)</a:t>
          </a:r>
          <a:endParaRPr lang="sv-SE" sz="1400" dirty="0"/>
        </a:p>
      </dgm:t>
    </dgm:pt>
    <dgm:pt modelId="{F52D8FCF-B665-4217-961C-29CD401D888B}" type="parTrans" cxnId="{AC8CB2AA-E992-4B22-8FAD-2321B2D143C2}">
      <dgm:prSet/>
      <dgm:spPr/>
      <dgm:t>
        <a:bodyPr/>
        <a:lstStyle/>
        <a:p>
          <a:endParaRPr lang="sv-SE"/>
        </a:p>
      </dgm:t>
    </dgm:pt>
    <dgm:pt modelId="{0044F7F6-7568-4C88-8CE2-56260465FBFB}" type="sibTrans" cxnId="{AC8CB2AA-E992-4B22-8FAD-2321B2D143C2}">
      <dgm:prSet/>
      <dgm:spPr/>
      <dgm:t>
        <a:bodyPr/>
        <a:lstStyle/>
        <a:p>
          <a:endParaRPr lang="sv-SE"/>
        </a:p>
      </dgm:t>
    </dgm:pt>
    <dgm:pt modelId="{1FFB313B-49DE-4ECF-905D-772E399AABF0}">
      <dgm:prSet custT="1"/>
      <dgm:spPr/>
      <dgm:t>
        <a:bodyPr/>
        <a:lstStyle/>
        <a:p>
          <a:r>
            <a:rPr lang="en-US" sz="1400" dirty="0" smtClean="0"/>
            <a:t>Common procurement (lead 50Hertz)</a:t>
          </a:r>
          <a:endParaRPr lang="sv-SE" sz="1400" dirty="0"/>
        </a:p>
      </dgm:t>
    </dgm:pt>
    <dgm:pt modelId="{69BA6CA7-2C6F-4ECD-A844-87095504CBD2}" type="parTrans" cxnId="{CD3DC538-3744-4881-89D7-43057494333B}">
      <dgm:prSet/>
      <dgm:spPr/>
      <dgm:t>
        <a:bodyPr/>
        <a:lstStyle/>
        <a:p>
          <a:endParaRPr lang="sv-SE"/>
        </a:p>
      </dgm:t>
    </dgm:pt>
    <dgm:pt modelId="{788A94AA-A72D-4B31-B0B1-0C7174D6DD37}" type="sibTrans" cxnId="{CD3DC538-3744-4881-89D7-43057494333B}">
      <dgm:prSet/>
      <dgm:spPr/>
      <dgm:t>
        <a:bodyPr/>
        <a:lstStyle/>
        <a:p>
          <a:endParaRPr lang="sv-SE"/>
        </a:p>
      </dgm:t>
    </dgm:pt>
    <dgm:pt modelId="{507A90C6-5397-471E-BBD6-999F3A50E13A}">
      <dgm:prSet custT="1"/>
      <dgm:spPr/>
      <dgm:t>
        <a:bodyPr/>
        <a:lstStyle/>
        <a:p>
          <a:pPr rtl="0"/>
          <a:r>
            <a:rPr lang="sv-SE" sz="1400" dirty="0" err="1" smtClean="0"/>
            <a:t>Separate</a:t>
          </a:r>
          <a:r>
            <a:rPr lang="sv-SE" sz="1400" dirty="0" smtClean="0"/>
            <a:t> </a:t>
          </a:r>
          <a:r>
            <a:rPr lang="sv-SE" sz="1400" dirty="0" err="1" smtClean="0"/>
            <a:t>packages</a:t>
          </a:r>
          <a:endParaRPr lang="sv-SE" sz="1400" dirty="0"/>
        </a:p>
      </dgm:t>
    </dgm:pt>
    <dgm:pt modelId="{88ED48C7-49C5-401C-8BEB-91B53A76F6FC}" type="parTrans" cxnId="{8A84EFF3-9DF5-4C6C-BD39-A7C220A28A50}">
      <dgm:prSet/>
      <dgm:spPr/>
      <dgm:t>
        <a:bodyPr/>
        <a:lstStyle/>
        <a:p>
          <a:endParaRPr lang="sv-SE"/>
        </a:p>
      </dgm:t>
    </dgm:pt>
    <dgm:pt modelId="{64601D85-174B-4A6F-AE6C-71A0F1A5E033}" type="sibTrans" cxnId="{8A84EFF3-9DF5-4C6C-BD39-A7C220A28A50}">
      <dgm:prSet/>
      <dgm:spPr/>
      <dgm:t>
        <a:bodyPr/>
        <a:lstStyle/>
        <a:p>
          <a:endParaRPr lang="sv-SE"/>
        </a:p>
      </dgm:t>
    </dgm:pt>
    <dgm:pt modelId="{B8EE2596-357B-4406-BBAD-C23F57927EAA}">
      <dgm:prSet custT="1"/>
      <dgm:spPr/>
      <dgm:t>
        <a:bodyPr/>
        <a:lstStyle/>
        <a:p>
          <a:pPr rtl="0"/>
          <a:r>
            <a:rPr lang="en-US" sz="1400" dirty="0" smtClean="0"/>
            <a:t>AC substations extensions</a:t>
          </a:r>
          <a:endParaRPr lang="sv-SE" sz="1400" dirty="0"/>
        </a:p>
      </dgm:t>
    </dgm:pt>
    <dgm:pt modelId="{B0B8FFAE-C9AE-4006-868D-3695D36B1B7C}" type="parTrans" cxnId="{5B324DF9-58D0-41AF-8C7B-AC97FBD87103}">
      <dgm:prSet/>
      <dgm:spPr/>
      <dgm:t>
        <a:bodyPr/>
        <a:lstStyle/>
        <a:p>
          <a:endParaRPr lang="sv-SE"/>
        </a:p>
      </dgm:t>
    </dgm:pt>
    <dgm:pt modelId="{454B2E20-7B22-46BC-AD3B-2D1CFE6E16F4}" type="sibTrans" cxnId="{5B324DF9-58D0-41AF-8C7B-AC97FBD87103}">
      <dgm:prSet/>
      <dgm:spPr/>
      <dgm:t>
        <a:bodyPr/>
        <a:lstStyle/>
        <a:p>
          <a:endParaRPr lang="sv-SE"/>
        </a:p>
      </dgm:t>
    </dgm:pt>
    <dgm:pt modelId="{5257BCE2-515E-4300-BFAA-87838FC598EA}">
      <dgm:prSet custT="1"/>
      <dgm:spPr/>
      <dgm:t>
        <a:bodyPr/>
        <a:lstStyle/>
        <a:p>
          <a:pPr algn="l"/>
          <a:r>
            <a:rPr lang="sv-SE" sz="1400" smtClean="0"/>
            <a:t>FIDIC Yellow Book 1999</a:t>
          </a:r>
          <a:endParaRPr lang="sv-SE" sz="1400" dirty="0"/>
        </a:p>
      </dgm:t>
    </dgm:pt>
    <dgm:pt modelId="{5EAB9CCD-2371-4291-8D70-00609612A9F7}" type="parTrans" cxnId="{098EDEA9-92FF-4FB2-A369-25FC20970E76}">
      <dgm:prSet/>
      <dgm:spPr/>
      <dgm:t>
        <a:bodyPr/>
        <a:lstStyle/>
        <a:p>
          <a:endParaRPr lang="sv-SE"/>
        </a:p>
      </dgm:t>
    </dgm:pt>
    <dgm:pt modelId="{114F8413-2CF5-4110-9047-65FAE8C7FB9B}" type="sibTrans" cxnId="{098EDEA9-92FF-4FB2-A369-25FC20970E76}">
      <dgm:prSet/>
      <dgm:spPr/>
      <dgm:t>
        <a:bodyPr/>
        <a:lstStyle/>
        <a:p>
          <a:endParaRPr lang="sv-SE"/>
        </a:p>
      </dgm:t>
    </dgm:pt>
    <dgm:pt modelId="{060F37EB-17BC-43A7-AB99-102D040D6673}">
      <dgm:prSet custT="1"/>
      <dgm:spPr/>
      <dgm:t>
        <a:bodyPr/>
        <a:lstStyle/>
        <a:p>
          <a:r>
            <a:rPr lang="sv-SE" sz="1400" dirty="0" smtClean="0"/>
            <a:t>FIDIC </a:t>
          </a:r>
          <a:r>
            <a:rPr lang="sv-SE" sz="1400" dirty="0" err="1" smtClean="0"/>
            <a:t>Yellow</a:t>
          </a:r>
          <a:r>
            <a:rPr lang="sv-SE" sz="1400" dirty="0" smtClean="0"/>
            <a:t> Book 1999</a:t>
          </a:r>
          <a:endParaRPr lang="sv-SE" sz="1400" dirty="0"/>
        </a:p>
      </dgm:t>
    </dgm:pt>
    <dgm:pt modelId="{9F9128C7-E6F0-4381-8F6A-6602A4058D1E}" type="parTrans" cxnId="{39E6E4A5-C8BB-455E-B642-BEFFCCA7F422}">
      <dgm:prSet/>
      <dgm:spPr/>
      <dgm:t>
        <a:bodyPr/>
        <a:lstStyle/>
        <a:p>
          <a:endParaRPr lang="sv-SE"/>
        </a:p>
      </dgm:t>
    </dgm:pt>
    <dgm:pt modelId="{5C03C084-DB30-4E8D-B3BA-4E854C6D57C1}" type="sibTrans" cxnId="{39E6E4A5-C8BB-455E-B642-BEFFCCA7F422}">
      <dgm:prSet/>
      <dgm:spPr/>
      <dgm:t>
        <a:bodyPr/>
        <a:lstStyle/>
        <a:p>
          <a:endParaRPr lang="sv-SE"/>
        </a:p>
      </dgm:t>
    </dgm:pt>
    <dgm:pt modelId="{6872A470-AD3D-41E3-BD36-087CA39CD88F}">
      <dgm:prSet custT="1"/>
      <dgm:spPr/>
      <dgm:t>
        <a:bodyPr/>
        <a:lstStyle/>
        <a:p>
          <a:r>
            <a:rPr lang="en-US" sz="1400" dirty="0" smtClean="0"/>
            <a:t>Other works</a:t>
          </a:r>
        </a:p>
      </dgm:t>
    </dgm:pt>
    <dgm:pt modelId="{037D4A8A-AA83-4645-8292-9073377BB4E1}" type="parTrans" cxnId="{92CA3C86-9DA0-4A57-81A7-0EA476F1A34B}">
      <dgm:prSet/>
      <dgm:spPr/>
      <dgm:t>
        <a:bodyPr/>
        <a:lstStyle/>
        <a:p>
          <a:endParaRPr lang="sv-SE"/>
        </a:p>
      </dgm:t>
    </dgm:pt>
    <dgm:pt modelId="{D32D9C6B-5D5F-475D-8BBC-2014AF7F8FF1}" type="sibTrans" cxnId="{92CA3C86-9DA0-4A57-81A7-0EA476F1A34B}">
      <dgm:prSet/>
      <dgm:spPr/>
      <dgm:t>
        <a:bodyPr/>
        <a:lstStyle/>
        <a:p>
          <a:endParaRPr lang="sv-SE"/>
        </a:p>
      </dgm:t>
    </dgm:pt>
    <dgm:pt modelId="{DAE2805F-3FE4-4C49-86CE-7FCACA4A8B30}" type="pres">
      <dgm:prSet presAssocID="{DACEAC62-A664-44A1-9405-90A159575E9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sv-SE"/>
        </a:p>
      </dgm:t>
    </dgm:pt>
    <dgm:pt modelId="{56E5D189-17A9-4785-92EB-A3280BF135D3}" type="pres">
      <dgm:prSet presAssocID="{73AD432D-601F-464F-81E0-F3FE39A413EF}" presName="root" presStyleCnt="0"/>
      <dgm:spPr/>
    </dgm:pt>
    <dgm:pt modelId="{C9B4DA4D-6857-4E20-9800-0757E8E08056}" type="pres">
      <dgm:prSet presAssocID="{73AD432D-601F-464F-81E0-F3FE39A413EF}" presName="rootComposite" presStyleCnt="0"/>
      <dgm:spPr/>
    </dgm:pt>
    <dgm:pt modelId="{417B2CCE-A147-42BB-A08C-21334927DA91}" type="pres">
      <dgm:prSet presAssocID="{73AD432D-601F-464F-81E0-F3FE39A413EF}" presName="rootText" presStyleLbl="node1" presStyleIdx="0" presStyleCnt="3"/>
      <dgm:spPr/>
      <dgm:t>
        <a:bodyPr/>
        <a:lstStyle/>
        <a:p>
          <a:endParaRPr lang="sv-SE"/>
        </a:p>
      </dgm:t>
    </dgm:pt>
    <dgm:pt modelId="{93BC2646-7D15-46C5-976E-74CB67C969BA}" type="pres">
      <dgm:prSet presAssocID="{73AD432D-601F-464F-81E0-F3FE39A413EF}" presName="rootConnector" presStyleLbl="node1" presStyleIdx="0" presStyleCnt="3"/>
      <dgm:spPr/>
      <dgm:t>
        <a:bodyPr/>
        <a:lstStyle/>
        <a:p>
          <a:endParaRPr lang="sv-SE"/>
        </a:p>
      </dgm:t>
    </dgm:pt>
    <dgm:pt modelId="{251E6251-2F8D-4FE5-9C62-3FCF8FE1A944}" type="pres">
      <dgm:prSet presAssocID="{73AD432D-601F-464F-81E0-F3FE39A413EF}" presName="childShape" presStyleCnt="0"/>
      <dgm:spPr/>
    </dgm:pt>
    <dgm:pt modelId="{598604F2-9CAD-4DC8-A98B-3E40B7ED54CF}" type="pres">
      <dgm:prSet presAssocID="{F31C3FD5-2080-463E-A4F7-1F9F737BDDA1}" presName="Name13" presStyleLbl="parChTrans1D2" presStyleIdx="0" presStyleCnt="11"/>
      <dgm:spPr/>
      <dgm:t>
        <a:bodyPr/>
        <a:lstStyle/>
        <a:p>
          <a:endParaRPr lang="sv-SE"/>
        </a:p>
      </dgm:t>
    </dgm:pt>
    <dgm:pt modelId="{1953427F-D7D3-4AA3-B1BC-24A27DE36571}" type="pres">
      <dgm:prSet presAssocID="{097B91CC-7A59-4616-8DDF-827B90346193}" presName="childText" presStyleLbl="bgAcc1" presStyleIdx="0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C3BE2766-8FD8-4BEE-B382-7D60376BDC57}" type="pres">
      <dgm:prSet presAssocID="{B4105C8C-7C39-4C8D-8072-17352C0FD204}" presName="Name13" presStyleLbl="parChTrans1D2" presStyleIdx="1" presStyleCnt="11"/>
      <dgm:spPr/>
      <dgm:t>
        <a:bodyPr/>
        <a:lstStyle/>
        <a:p>
          <a:endParaRPr lang="sv-SE"/>
        </a:p>
      </dgm:t>
    </dgm:pt>
    <dgm:pt modelId="{D20778D9-8B74-45A5-8A2B-F6E1FE54BA1B}" type="pres">
      <dgm:prSet presAssocID="{A9DBBA44-36B0-4BD5-9368-054E283C1E37}" presName="childText" presStyleLbl="bgAcc1" presStyleIdx="1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8092138F-51B5-4002-BD19-FBD4FE058A43}" type="pres">
      <dgm:prSet presAssocID="{F52D8FCF-B665-4217-961C-29CD401D888B}" presName="Name13" presStyleLbl="parChTrans1D2" presStyleIdx="2" presStyleCnt="11"/>
      <dgm:spPr/>
      <dgm:t>
        <a:bodyPr/>
        <a:lstStyle/>
        <a:p>
          <a:endParaRPr lang="sv-SE"/>
        </a:p>
      </dgm:t>
    </dgm:pt>
    <dgm:pt modelId="{1DAA5171-C286-4F1F-AB59-27439B476DA8}" type="pres">
      <dgm:prSet presAssocID="{6BAC3582-C935-4805-84C0-5ABCB5DBCE72}" presName="childText" presStyleLbl="bgAcc1" presStyleIdx="2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9AB2A617-C184-4C1F-BE3B-81803AFB8265}" type="pres">
      <dgm:prSet presAssocID="{5EAB9CCD-2371-4291-8D70-00609612A9F7}" presName="Name13" presStyleLbl="parChTrans1D2" presStyleIdx="3" presStyleCnt="11"/>
      <dgm:spPr/>
      <dgm:t>
        <a:bodyPr/>
        <a:lstStyle/>
        <a:p>
          <a:endParaRPr lang="sv-SE"/>
        </a:p>
      </dgm:t>
    </dgm:pt>
    <dgm:pt modelId="{AFA37FB9-8D34-4F9F-9F17-4B24C4C7A741}" type="pres">
      <dgm:prSet presAssocID="{5257BCE2-515E-4300-BFAA-87838FC598EA}" presName="childText" presStyleLbl="bgAcc1" presStyleIdx="3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5D88133D-488A-4FF0-98E2-C48B5E14208B}" type="pres">
      <dgm:prSet presAssocID="{440C719F-8B8D-4320-BAFA-2354EB84DFE0}" presName="root" presStyleCnt="0"/>
      <dgm:spPr/>
    </dgm:pt>
    <dgm:pt modelId="{852532C5-FB48-460C-BE60-076F1869CC64}" type="pres">
      <dgm:prSet presAssocID="{440C719F-8B8D-4320-BAFA-2354EB84DFE0}" presName="rootComposite" presStyleCnt="0"/>
      <dgm:spPr/>
    </dgm:pt>
    <dgm:pt modelId="{A5A3AC7D-3320-4451-B9D2-6BEEB4B6EC47}" type="pres">
      <dgm:prSet presAssocID="{440C719F-8B8D-4320-BAFA-2354EB84DFE0}" presName="rootText" presStyleLbl="node1" presStyleIdx="1" presStyleCnt="3"/>
      <dgm:spPr/>
      <dgm:t>
        <a:bodyPr/>
        <a:lstStyle/>
        <a:p>
          <a:endParaRPr lang="sv-SE"/>
        </a:p>
      </dgm:t>
    </dgm:pt>
    <dgm:pt modelId="{574F3C86-2B71-43A0-A115-CC592050F57B}" type="pres">
      <dgm:prSet presAssocID="{440C719F-8B8D-4320-BAFA-2354EB84DFE0}" presName="rootConnector" presStyleLbl="node1" presStyleIdx="1" presStyleCnt="3"/>
      <dgm:spPr/>
      <dgm:t>
        <a:bodyPr/>
        <a:lstStyle/>
        <a:p>
          <a:endParaRPr lang="sv-SE"/>
        </a:p>
      </dgm:t>
    </dgm:pt>
    <dgm:pt modelId="{0D49607A-CB58-47CC-89AF-5C5E498C728F}" type="pres">
      <dgm:prSet presAssocID="{440C719F-8B8D-4320-BAFA-2354EB84DFE0}" presName="childShape" presStyleCnt="0"/>
      <dgm:spPr/>
    </dgm:pt>
    <dgm:pt modelId="{60A10C95-6088-425C-9563-0E34AC97F3A3}" type="pres">
      <dgm:prSet presAssocID="{42940D72-0619-4856-82B5-A45DE5AC34E2}" presName="Name13" presStyleLbl="parChTrans1D2" presStyleIdx="4" presStyleCnt="11"/>
      <dgm:spPr/>
      <dgm:t>
        <a:bodyPr/>
        <a:lstStyle/>
        <a:p>
          <a:endParaRPr lang="sv-SE"/>
        </a:p>
      </dgm:t>
    </dgm:pt>
    <dgm:pt modelId="{E9C32B0A-D3E7-4B26-8DB5-88374224354E}" type="pres">
      <dgm:prSet presAssocID="{0A350655-CC96-4C10-B012-A0E8185DF695}" presName="childText" presStyleLbl="bgAcc1" presStyleIdx="4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3CF40A92-1FA8-4EFC-BD6A-0C15F6039118}" type="pres">
      <dgm:prSet presAssocID="{7921C957-2A9F-4497-A96E-94F1DB43F1C6}" presName="Name13" presStyleLbl="parChTrans1D2" presStyleIdx="5" presStyleCnt="11"/>
      <dgm:spPr/>
      <dgm:t>
        <a:bodyPr/>
        <a:lstStyle/>
        <a:p>
          <a:endParaRPr lang="sv-SE"/>
        </a:p>
      </dgm:t>
    </dgm:pt>
    <dgm:pt modelId="{4720C595-7CBF-4B43-B502-EB7036853C9D}" type="pres">
      <dgm:prSet presAssocID="{E7C8B221-8DC2-4BA3-93F4-641DC9B24398}" presName="childText" presStyleLbl="bgAcc1" presStyleIdx="5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78A80FDE-F6FB-4A69-9DE8-1DDF3AE64736}" type="pres">
      <dgm:prSet presAssocID="{69BA6CA7-2C6F-4ECD-A844-87095504CBD2}" presName="Name13" presStyleLbl="parChTrans1D2" presStyleIdx="6" presStyleCnt="11"/>
      <dgm:spPr/>
      <dgm:t>
        <a:bodyPr/>
        <a:lstStyle/>
        <a:p>
          <a:endParaRPr lang="sv-SE"/>
        </a:p>
      </dgm:t>
    </dgm:pt>
    <dgm:pt modelId="{5B00A866-DD19-497F-AC6C-F747286D8B6A}" type="pres">
      <dgm:prSet presAssocID="{1FFB313B-49DE-4ECF-905D-772E399AABF0}" presName="childText" presStyleLbl="bgAcc1" presStyleIdx="6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8F604B2C-F7B4-497D-B307-33372CDF27C4}" type="pres">
      <dgm:prSet presAssocID="{9F9128C7-E6F0-4381-8F6A-6602A4058D1E}" presName="Name13" presStyleLbl="parChTrans1D2" presStyleIdx="7" presStyleCnt="11"/>
      <dgm:spPr/>
      <dgm:t>
        <a:bodyPr/>
        <a:lstStyle/>
        <a:p>
          <a:endParaRPr lang="sv-SE"/>
        </a:p>
      </dgm:t>
    </dgm:pt>
    <dgm:pt modelId="{6937A47F-D235-47C8-90BD-28F76BEE7C09}" type="pres">
      <dgm:prSet presAssocID="{060F37EB-17BC-43A7-AB99-102D040D6673}" presName="childText" presStyleLbl="bgAcc1" presStyleIdx="7" presStyleCnt="1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38603EC9-D636-42ED-B554-D3DFFE135899}" type="pres">
      <dgm:prSet presAssocID="{507A90C6-5397-471E-BBD6-999F3A50E13A}" presName="root" presStyleCnt="0"/>
      <dgm:spPr/>
    </dgm:pt>
    <dgm:pt modelId="{B90A626D-A48C-4D9A-A1F6-8DB36182F29A}" type="pres">
      <dgm:prSet presAssocID="{507A90C6-5397-471E-BBD6-999F3A50E13A}" presName="rootComposite" presStyleCnt="0"/>
      <dgm:spPr/>
    </dgm:pt>
    <dgm:pt modelId="{32275CE2-4A70-47EE-A82F-0C5A86E064C8}" type="pres">
      <dgm:prSet presAssocID="{507A90C6-5397-471E-BBD6-999F3A50E13A}" presName="rootText" presStyleLbl="node1" presStyleIdx="2" presStyleCnt="3" custLinFactNeighborX="69418"/>
      <dgm:spPr/>
      <dgm:t>
        <a:bodyPr/>
        <a:lstStyle/>
        <a:p>
          <a:endParaRPr lang="sv-SE"/>
        </a:p>
      </dgm:t>
    </dgm:pt>
    <dgm:pt modelId="{89B019FF-83B8-49E1-B74F-914D6CD58A1E}" type="pres">
      <dgm:prSet presAssocID="{507A90C6-5397-471E-BBD6-999F3A50E13A}" presName="rootConnector" presStyleLbl="node1" presStyleIdx="2" presStyleCnt="3"/>
      <dgm:spPr/>
      <dgm:t>
        <a:bodyPr/>
        <a:lstStyle/>
        <a:p>
          <a:endParaRPr lang="sv-SE"/>
        </a:p>
      </dgm:t>
    </dgm:pt>
    <dgm:pt modelId="{BAF16F21-216D-4EEF-B661-FAB547C0780B}" type="pres">
      <dgm:prSet presAssocID="{507A90C6-5397-471E-BBD6-999F3A50E13A}" presName="childShape" presStyleCnt="0"/>
      <dgm:spPr/>
    </dgm:pt>
    <dgm:pt modelId="{D1AF47DB-F550-45B7-844E-6B2A3D9FBDDD}" type="pres">
      <dgm:prSet presAssocID="{B0B8FFAE-C9AE-4006-868D-3695D36B1B7C}" presName="Name13" presStyleLbl="parChTrans1D2" presStyleIdx="8" presStyleCnt="11"/>
      <dgm:spPr/>
      <dgm:t>
        <a:bodyPr/>
        <a:lstStyle/>
        <a:p>
          <a:endParaRPr lang="sv-SE"/>
        </a:p>
      </dgm:t>
    </dgm:pt>
    <dgm:pt modelId="{C5DA22B0-4517-42F2-90EC-D105E52BFA7E}" type="pres">
      <dgm:prSet presAssocID="{B8EE2596-357B-4406-BBAD-C23F57927EAA}" presName="childText" presStyleLbl="bgAcc1" presStyleIdx="8" presStyleCnt="11" custScaleX="93946" custLinFactNeighborX="9065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3B38BF8E-D7F0-48FA-B57D-759718857710}" type="pres">
      <dgm:prSet presAssocID="{5B63AB2A-AB3A-440A-BA09-6CE368B0FECF}" presName="Name13" presStyleLbl="parChTrans1D2" presStyleIdx="9" presStyleCnt="11"/>
      <dgm:spPr/>
      <dgm:t>
        <a:bodyPr/>
        <a:lstStyle/>
        <a:p>
          <a:endParaRPr lang="sv-SE"/>
        </a:p>
      </dgm:t>
    </dgm:pt>
    <dgm:pt modelId="{2E1CB830-2DCF-4463-8AB6-20393E28A3EB}" type="pres">
      <dgm:prSet presAssocID="{00B991B4-BCF9-40AD-B425-2056DE33800A}" presName="childText" presStyleLbl="bgAcc1" presStyleIdx="9" presStyleCnt="11" custScaleX="112731" custScaleY="162057" custLinFactNeighborX="86773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E2024EB8-2226-43B3-B7EB-ADA399F279A6}" type="pres">
      <dgm:prSet presAssocID="{037D4A8A-AA83-4645-8292-9073377BB4E1}" presName="Name13" presStyleLbl="parChTrans1D2" presStyleIdx="10" presStyleCnt="11"/>
      <dgm:spPr/>
      <dgm:t>
        <a:bodyPr/>
        <a:lstStyle/>
        <a:p>
          <a:endParaRPr lang="sv-SE"/>
        </a:p>
      </dgm:t>
    </dgm:pt>
    <dgm:pt modelId="{339CB9C0-22D9-480B-827F-6264F338E94A}" type="pres">
      <dgm:prSet presAssocID="{6872A470-AD3D-41E3-BD36-087CA39CD88F}" presName="childText" presStyleLbl="bgAcc1" presStyleIdx="10" presStyleCnt="11" custScaleY="109722" custLinFactNeighborX="98218" custLinFactNeighborY="1564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</dgm:ptLst>
  <dgm:cxnLst>
    <dgm:cxn modelId="{92CA3C86-9DA0-4A57-81A7-0EA476F1A34B}" srcId="{507A90C6-5397-471E-BBD6-999F3A50E13A}" destId="{6872A470-AD3D-41E3-BD36-087CA39CD88F}" srcOrd="2" destOrd="0" parTransId="{037D4A8A-AA83-4645-8292-9073377BB4E1}" sibTransId="{D32D9C6B-5D5F-475D-8BBC-2014AF7F8FF1}"/>
    <dgm:cxn modelId="{8D2255E9-354A-4B73-8EAE-B64B896B7EAA}" type="presOf" srcId="{B4105C8C-7C39-4C8D-8072-17352C0FD204}" destId="{C3BE2766-8FD8-4BEE-B382-7D60376BDC57}" srcOrd="0" destOrd="0" presId="urn:microsoft.com/office/officeart/2005/8/layout/hierarchy3"/>
    <dgm:cxn modelId="{ECEBDD06-C9BB-4795-B1AD-FEC3F27255E4}" type="presOf" srcId="{42940D72-0619-4856-82B5-A45DE5AC34E2}" destId="{60A10C95-6088-425C-9563-0E34AC97F3A3}" srcOrd="0" destOrd="0" presId="urn:microsoft.com/office/officeart/2005/8/layout/hierarchy3"/>
    <dgm:cxn modelId="{1A599E0D-0CA3-4B78-8CB5-8789BF61DAC8}" type="presOf" srcId="{DACEAC62-A664-44A1-9405-90A159575E91}" destId="{DAE2805F-3FE4-4C49-86CE-7FCACA4A8B30}" srcOrd="0" destOrd="0" presId="urn:microsoft.com/office/officeart/2005/8/layout/hierarchy3"/>
    <dgm:cxn modelId="{FD0AC1A1-350A-4D3D-8D74-7476A54F84D7}" type="presOf" srcId="{037D4A8A-AA83-4645-8292-9073377BB4E1}" destId="{E2024EB8-2226-43B3-B7EB-ADA399F279A6}" srcOrd="0" destOrd="0" presId="urn:microsoft.com/office/officeart/2005/8/layout/hierarchy3"/>
    <dgm:cxn modelId="{2DE13966-0234-4604-9C3D-64000A001725}" type="presOf" srcId="{E7C8B221-8DC2-4BA3-93F4-641DC9B24398}" destId="{4720C595-7CBF-4B43-B502-EB7036853C9D}" srcOrd="0" destOrd="0" presId="urn:microsoft.com/office/officeart/2005/8/layout/hierarchy3"/>
    <dgm:cxn modelId="{044F84FA-786B-4B15-AFB4-32793E9EBE27}" type="presOf" srcId="{9F9128C7-E6F0-4381-8F6A-6602A4058D1E}" destId="{8F604B2C-F7B4-497D-B307-33372CDF27C4}" srcOrd="0" destOrd="0" presId="urn:microsoft.com/office/officeart/2005/8/layout/hierarchy3"/>
    <dgm:cxn modelId="{EC240549-267B-4F8E-818E-4A995D2A163D}" type="presOf" srcId="{440C719F-8B8D-4320-BAFA-2354EB84DFE0}" destId="{A5A3AC7D-3320-4451-B9D2-6BEEB4B6EC47}" srcOrd="0" destOrd="0" presId="urn:microsoft.com/office/officeart/2005/8/layout/hierarchy3"/>
    <dgm:cxn modelId="{879F5B4A-DB23-463B-8962-FA23D3840EA1}" srcId="{73AD432D-601F-464F-81E0-F3FE39A413EF}" destId="{A9DBBA44-36B0-4BD5-9368-054E283C1E37}" srcOrd="1" destOrd="0" parTransId="{B4105C8C-7C39-4C8D-8072-17352C0FD204}" sibTransId="{2672C666-F438-44BC-99D2-72F48C414CAA}"/>
    <dgm:cxn modelId="{B50254C5-D74E-4E94-BA42-55B918CE9922}" type="presOf" srcId="{507A90C6-5397-471E-BBD6-999F3A50E13A}" destId="{32275CE2-4A70-47EE-A82F-0C5A86E064C8}" srcOrd="0" destOrd="0" presId="urn:microsoft.com/office/officeart/2005/8/layout/hierarchy3"/>
    <dgm:cxn modelId="{AC8CB2AA-E992-4B22-8FAD-2321B2D143C2}" srcId="{73AD432D-601F-464F-81E0-F3FE39A413EF}" destId="{6BAC3582-C935-4805-84C0-5ABCB5DBCE72}" srcOrd="2" destOrd="0" parTransId="{F52D8FCF-B665-4217-961C-29CD401D888B}" sibTransId="{0044F7F6-7568-4C88-8CE2-56260465FBFB}"/>
    <dgm:cxn modelId="{39E6E4A5-C8BB-455E-B642-BEFFCCA7F422}" srcId="{440C719F-8B8D-4320-BAFA-2354EB84DFE0}" destId="{060F37EB-17BC-43A7-AB99-102D040D6673}" srcOrd="3" destOrd="0" parTransId="{9F9128C7-E6F0-4381-8F6A-6602A4058D1E}" sibTransId="{5C03C084-DB30-4E8D-B3BA-4E854C6D57C1}"/>
    <dgm:cxn modelId="{5B324DF9-58D0-41AF-8C7B-AC97FBD87103}" srcId="{507A90C6-5397-471E-BBD6-999F3A50E13A}" destId="{B8EE2596-357B-4406-BBAD-C23F57927EAA}" srcOrd="0" destOrd="0" parTransId="{B0B8FFAE-C9AE-4006-868D-3695D36B1B7C}" sibTransId="{454B2E20-7B22-46BC-AD3B-2D1CFE6E16F4}"/>
    <dgm:cxn modelId="{43E2EE33-51C5-411C-8FDD-7FE029A9C062}" srcId="{DACEAC62-A664-44A1-9405-90A159575E91}" destId="{440C719F-8B8D-4320-BAFA-2354EB84DFE0}" srcOrd="1" destOrd="0" parTransId="{A82FD1D8-744F-41BA-80C0-6FE2EBB03F09}" sibTransId="{30CB5A2B-4E83-4D15-805F-619CDF10DA25}"/>
    <dgm:cxn modelId="{D3D02FD9-A17F-4F1C-9040-35A9BBBF2A28}" type="presOf" srcId="{73AD432D-601F-464F-81E0-F3FE39A413EF}" destId="{93BC2646-7D15-46C5-976E-74CB67C969BA}" srcOrd="1" destOrd="0" presId="urn:microsoft.com/office/officeart/2005/8/layout/hierarchy3"/>
    <dgm:cxn modelId="{E795140A-F7E4-408D-BCB4-E02DF8980AF7}" srcId="{440C719F-8B8D-4320-BAFA-2354EB84DFE0}" destId="{E7C8B221-8DC2-4BA3-93F4-641DC9B24398}" srcOrd="1" destOrd="0" parTransId="{7921C957-2A9F-4497-A96E-94F1DB43F1C6}" sibTransId="{FD3ED326-100D-4A9E-A301-C48A33A02523}"/>
    <dgm:cxn modelId="{098049C3-0760-4A4A-9A72-EE9B0BBA9B61}" type="presOf" srcId="{F31C3FD5-2080-463E-A4F7-1F9F737BDDA1}" destId="{598604F2-9CAD-4DC8-A98B-3E40B7ED54CF}" srcOrd="0" destOrd="0" presId="urn:microsoft.com/office/officeart/2005/8/layout/hierarchy3"/>
    <dgm:cxn modelId="{098EDEA9-92FF-4FB2-A369-25FC20970E76}" srcId="{73AD432D-601F-464F-81E0-F3FE39A413EF}" destId="{5257BCE2-515E-4300-BFAA-87838FC598EA}" srcOrd="3" destOrd="0" parTransId="{5EAB9CCD-2371-4291-8D70-00609612A9F7}" sibTransId="{114F8413-2CF5-4110-9047-65FAE8C7FB9B}"/>
    <dgm:cxn modelId="{79687444-820D-447F-98A8-38D9DC4EAF4D}" type="presOf" srcId="{7921C957-2A9F-4497-A96E-94F1DB43F1C6}" destId="{3CF40A92-1FA8-4EFC-BD6A-0C15F6039118}" srcOrd="0" destOrd="0" presId="urn:microsoft.com/office/officeart/2005/8/layout/hierarchy3"/>
    <dgm:cxn modelId="{2B95F373-CC19-413E-876F-BB727E877C44}" type="presOf" srcId="{A9DBBA44-36B0-4BD5-9368-054E283C1E37}" destId="{D20778D9-8B74-45A5-8A2B-F6E1FE54BA1B}" srcOrd="0" destOrd="0" presId="urn:microsoft.com/office/officeart/2005/8/layout/hierarchy3"/>
    <dgm:cxn modelId="{9DB03B8B-6877-45DA-9256-85D60C528BD9}" type="presOf" srcId="{6BAC3582-C935-4805-84C0-5ABCB5DBCE72}" destId="{1DAA5171-C286-4F1F-AB59-27439B476DA8}" srcOrd="0" destOrd="0" presId="urn:microsoft.com/office/officeart/2005/8/layout/hierarchy3"/>
    <dgm:cxn modelId="{2BEFE771-B082-4F20-BE9C-9BDE2E927888}" type="presOf" srcId="{B0B8FFAE-C9AE-4006-868D-3695D36B1B7C}" destId="{D1AF47DB-F550-45B7-844E-6B2A3D9FBDDD}" srcOrd="0" destOrd="0" presId="urn:microsoft.com/office/officeart/2005/8/layout/hierarchy3"/>
    <dgm:cxn modelId="{4C504953-7F5B-4F34-A4F2-69692F7CF423}" type="presOf" srcId="{6872A470-AD3D-41E3-BD36-087CA39CD88F}" destId="{339CB9C0-22D9-480B-827F-6264F338E94A}" srcOrd="0" destOrd="0" presId="urn:microsoft.com/office/officeart/2005/8/layout/hierarchy3"/>
    <dgm:cxn modelId="{7E73DBD0-2139-44BD-9667-EA104C09F1F7}" srcId="{440C719F-8B8D-4320-BAFA-2354EB84DFE0}" destId="{0A350655-CC96-4C10-B012-A0E8185DF695}" srcOrd="0" destOrd="0" parTransId="{42940D72-0619-4856-82B5-A45DE5AC34E2}" sibTransId="{09425FF8-AE43-4CB6-946E-65229AF88893}"/>
    <dgm:cxn modelId="{B2921BC7-050D-47D1-90F9-390B0DAA077A}" type="presOf" srcId="{507A90C6-5397-471E-BBD6-999F3A50E13A}" destId="{89B019FF-83B8-49E1-B74F-914D6CD58A1E}" srcOrd="1" destOrd="0" presId="urn:microsoft.com/office/officeart/2005/8/layout/hierarchy3"/>
    <dgm:cxn modelId="{A2180D1B-7BF2-49FD-9CA6-704E3983D94B}" type="presOf" srcId="{73AD432D-601F-464F-81E0-F3FE39A413EF}" destId="{417B2CCE-A147-42BB-A08C-21334927DA91}" srcOrd="0" destOrd="0" presId="urn:microsoft.com/office/officeart/2005/8/layout/hierarchy3"/>
    <dgm:cxn modelId="{FC058D1C-9BA8-4C34-AA43-0C591B53F33C}" srcId="{DACEAC62-A664-44A1-9405-90A159575E91}" destId="{73AD432D-601F-464F-81E0-F3FE39A413EF}" srcOrd="0" destOrd="0" parTransId="{647CF8F4-90FA-4FA1-9C67-1D3569F60785}" sibTransId="{80D46721-E67F-47A8-BA0A-251BEB94EA5F}"/>
    <dgm:cxn modelId="{B2A3E2A8-2901-4A88-9586-1792D367A4C7}" type="presOf" srcId="{F52D8FCF-B665-4217-961C-29CD401D888B}" destId="{8092138F-51B5-4002-BD19-FBD4FE058A43}" srcOrd="0" destOrd="0" presId="urn:microsoft.com/office/officeart/2005/8/layout/hierarchy3"/>
    <dgm:cxn modelId="{7FBD6F75-ADFC-469B-AC37-C1320BE8E262}" type="presOf" srcId="{1FFB313B-49DE-4ECF-905D-772E399AABF0}" destId="{5B00A866-DD19-497F-AC6C-F747286D8B6A}" srcOrd="0" destOrd="0" presId="urn:microsoft.com/office/officeart/2005/8/layout/hierarchy3"/>
    <dgm:cxn modelId="{10566E14-EB1F-41C0-9FD0-21A75CF7698B}" type="presOf" srcId="{69BA6CA7-2C6F-4ECD-A844-87095504CBD2}" destId="{78A80FDE-F6FB-4A69-9DE8-1DDF3AE64736}" srcOrd="0" destOrd="0" presId="urn:microsoft.com/office/officeart/2005/8/layout/hierarchy3"/>
    <dgm:cxn modelId="{2ADB5BF9-F5B8-4D30-922A-36F3AB7C14C7}" type="presOf" srcId="{B8EE2596-357B-4406-BBAD-C23F57927EAA}" destId="{C5DA22B0-4517-42F2-90EC-D105E52BFA7E}" srcOrd="0" destOrd="0" presId="urn:microsoft.com/office/officeart/2005/8/layout/hierarchy3"/>
    <dgm:cxn modelId="{44B3D07B-317B-4316-91D1-741AE49A5F30}" type="presOf" srcId="{060F37EB-17BC-43A7-AB99-102D040D6673}" destId="{6937A47F-D235-47C8-90BD-28F76BEE7C09}" srcOrd="0" destOrd="0" presId="urn:microsoft.com/office/officeart/2005/8/layout/hierarchy3"/>
    <dgm:cxn modelId="{915297D6-F73B-40F0-8E9C-E7838811A623}" type="presOf" srcId="{00B991B4-BCF9-40AD-B425-2056DE33800A}" destId="{2E1CB830-2DCF-4463-8AB6-20393E28A3EB}" srcOrd="0" destOrd="0" presId="urn:microsoft.com/office/officeart/2005/8/layout/hierarchy3"/>
    <dgm:cxn modelId="{F1E1828A-AC4E-43AE-A1A6-8D56433FB672}" srcId="{73AD432D-601F-464F-81E0-F3FE39A413EF}" destId="{097B91CC-7A59-4616-8DDF-827B90346193}" srcOrd="0" destOrd="0" parTransId="{F31C3FD5-2080-463E-A4F7-1F9F737BDDA1}" sibTransId="{D19A4B26-B7FA-49F5-9588-11169CC5F9A4}"/>
    <dgm:cxn modelId="{4E957954-1876-4FE2-A202-CA66E766284A}" type="presOf" srcId="{5B63AB2A-AB3A-440A-BA09-6CE368B0FECF}" destId="{3B38BF8E-D7F0-48FA-B57D-759718857710}" srcOrd="0" destOrd="0" presId="urn:microsoft.com/office/officeart/2005/8/layout/hierarchy3"/>
    <dgm:cxn modelId="{5FEA5EE1-D52D-482E-A4A2-F201572E01B2}" type="presOf" srcId="{5257BCE2-515E-4300-BFAA-87838FC598EA}" destId="{AFA37FB9-8D34-4F9F-9F17-4B24C4C7A741}" srcOrd="0" destOrd="0" presId="urn:microsoft.com/office/officeart/2005/8/layout/hierarchy3"/>
    <dgm:cxn modelId="{CD3DC538-3744-4881-89D7-43057494333B}" srcId="{440C719F-8B8D-4320-BAFA-2354EB84DFE0}" destId="{1FFB313B-49DE-4ECF-905D-772E399AABF0}" srcOrd="2" destOrd="0" parTransId="{69BA6CA7-2C6F-4ECD-A844-87095504CBD2}" sibTransId="{788A94AA-A72D-4B31-B0B1-0C7174D6DD37}"/>
    <dgm:cxn modelId="{37E71DA4-A6E1-4D02-AB8E-6408974BFFFE}" type="presOf" srcId="{440C719F-8B8D-4320-BAFA-2354EB84DFE0}" destId="{574F3C86-2B71-43A0-A115-CC592050F57B}" srcOrd="1" destOrd="0" presId="urn:microsoft.com/office/officeart/2005/8/layout/hierarchy3"/>
    <dgm:cxn modelId="{673C22D5-529E-41FB-BF5B-CFC65728497E}" type="presOf" srcId="{097B91CC-7A59-4616-8DDF-827B90346193}" destId="{1953427F-D7D3-4AA3-B1BC-24A27DE36571}" srcOrd="0" destOrd="0" presId="urn:microsoft.com/office/officeart/2005/8/layout/hierarchy3"/>
    <dgm:cxn modelId="{3041D77F-12AF-4F1F-988C-1E3F0181640E}" type="presOf" srcId="{0A350655-CC96-4C10-B012-A0E8185DF695}" destId="{E9C32B0A-D3E7-4B26-8DB5-88374224354E}" srcOrd="0" destOrd="0" presId="urn:microsoft.com/office/officeart/2005/8/layout/hierarchy3"/>
    <dgm:cxn modelId="{0E26BAB6-3DF0-492A-B320-50DB8D3DF7BE}" srcId="{507A90C6-5397-471E-BBD6-999F3A50E13A}" destId="{00B991B4-BCF9-40AD-B425-2056DE33800A}" srcOrd="1" destOrd="0" parTransId="{5B63AB2A-AB3A-440A-BA09-6CE368B0FECF}" sibTransId="{C78094A0-5D5D-4C2E-8D14-1E08528ACDCF}"/>
    <dgm:cxn modelId="{72EB3C8E-6B81-43E6-8E73-AD378D259441}" type="presOf" srcId="{5EAB9CCD-2371-4291-8D70-00609612A9F7}" destId="{9AB2A617-C184-4C1F-BE3B-81803AFB8265}" srcOrd="0" destOrd="0" presId="urn:microsoft.com/office/officeart/2005/8/layout/hierarchy3"/>
    <dgm:cxn modelId="{8A84EFF3-9DF5-4C6C-BD39-A7C220A28A50}" srcId="{DACEAC62-A664-44A1-9405-90A159575E91}" destId="{507A90C6-5397-471E-BBD6-999F3A50E13A}" srcOrd="2" destOrd="0" parTransId="{88ED48C7-49C5-401C-8BEB-91B53A76F6FC}" sibTransId="{64601D85-174B-4A6F-AE6C-71A0F1A5E033}"/>
    <dgm:cxn modelId="{236B6F7D-D4C8-4BD8-BA4E-1B9373A925F3}" type="presParOf" srcId="{DAE2805F-3FE4-4C49-86CE-7FCACA4A8B30}" destId="{56E5D189-17A9-4785-92EB-A3280BF135D3}" srcOrd="0" destOrd="0" presId="urn:microsoft.com/office/officeart/2005/8/layout/hierarchy3"/>
    <dgm:cxn modelId="{A60C8907-F43B-41CB-A12E-F4F42287FD04}" type="presParOf" srcId="{56E5D189-17A9-4785-92EB-A3280BF135D3}" destId="{C9B4DA4D-6857-4E20-9800-0757E8E08056}" srcOrd="0" destOrd="0" presId="urn:microsoft.com/office/officeart/2005/8/layout/hierarchy3"/>
    <dgm:cxn modelId="{1DC4BF1C-1C38-4995-8050-44C6E2F4040B}" type="presParOf" srcId="{C9B4DA4D-6857-4E20-9800-0757E8E08056}" destId="{417B2CCE-A147-42BB-A08C-21334927DA91}" srcOrd="0" destOrd="0" presId="urn:microsoft.com/office/officeart/2005/8/layout/hierarchy3"/>
    <dgm:cxn modelId="{2371CED5-DF51-42CF-84AD-679328D98E5B}" type="presParOf" srcId="{C9B4DA4D-6857-4E20-9800-0757E8E08056}" destId="{93BC2646-7D15-46C5-976E-74CB67C969BA}" srcOrd="1" destOrd="0" presId="urn:microsoft.com/office/officeart/2005/8/layout/hierarchy3"/>
    <dgm:cxn modelId="{4E8204F4-1615-42FB-B1CD-7D241E76C353}" type="presParOf" srcId="{56E5D189-17A9-4785-92EB-A3280BF135D3}" destId="{251E6251-2F8D-4FE5-9C62-3FCF8FE1A944}" srcOrd="1" destOrd="0" presId="urn:microsoft.com/office/officeart/2005/8/layout/hierarchy3"/>
    <dgm:cxn modelId="{527EFC9C-5FB0-4C9E-B65B-71A931125458}" type="presParOf" srcId="{251E6251-2F8D-4FE5-9C62-3FCF8FE1A944}" destId="{598604F2-9CAD-4DC8-A98B-3E40B7ED54CF}" srcOrd="0" destOrd="0" presId="urn:microsoft.com/office/officeart/2005/8/layout/hierarchy3"/>
    <dgm:cxn modelId="{F82D8F73-B6EE-443A-88E3-3EA670D59C7E}" type="presParOf" srcId="{251E6251-2F8D-4FE5-9C62-3FCF8FE1A944}" destId="{1953427F-D7D3-4AA3-B1BC-24A27DE36571}" srcOrd="1" destOrd="0" presId="urn:microsoft.com/office/officeart/2005/8/layout/hierarchy3"/>
    <dgm:cxn modelId="{C821CB75-5202-46C4-93F7-768A59546728}" type="presParOf" srcId="{251E6251-2F8D-4FE5-9C62-3FCF8FE1A944}" destId="{C3BE2766-8FD8-4BEE-B382-7D60376BDC57}" srcOrd="2" destOrd="0" presId="urn:microsoft.com/office/officeart/2005/8/layout/hierarchy3"/>
    <dgm:cxn modelId="{447A8DC4-6D9D-48FF-9336-FE6459F40FDD}" type="presParOf" srcId="{251E6251-2F8D-4FE5-9C62-3FCF8FE1A944}" destId="{D20778D9-8B74-45A5-8A2B-F6E1FE54BA1B}" srcOrd="3" destOrd="0" presId="urn:microsoft.com/office/officeart/2005/8/layout/hierarchy3"/>
    <dgm:cxn modelId="{CDC7CD62-5407-469A-839F-1392541B08FC}" type="presParOf" srcId="{251E6251-2F8D-4FE5-9C62-3FCF8FE1A944}" destId="{8092138F-51B5-4002-BD19-FBD4FE058A43}" srcOrd="4" destOrd="0" presId="urn:microsoft.com/office/officeart/2005/8/layout/hierarchy3"/>
    <dgm:cxn modelId="{6A5F8581-EF1D-4D43-A670-A80AB08D5C96}" type="presParOf" srcId="{251E6251-2F8D-4FE5-9C62-3FCF8FE1A944}" destId="{1DAA5171-C286-4F1F-AB59-27439B476DA8}" srcOrd="5" destOrd="0" presId="urn:microsoft.com/office/officeart/2005/8/layout/hierarchy3"/>
    <dgm:cxn modelId="{F34F3A15-30FF-4F28-B749-D1D2C2579368}" type="presParOf" srcId="{251E6251-2F8D-4FE5-9C62-3FCF8FE1A944}" destId="{9AB2A617-C184-4C1F-BE3B-81803AFB8265}" srcOrd="6" destOrd="0" presId="urn:microsoft.com/office/officeart/2005/8/layout/hierarchy3"/>
    <dgm:cxn modelId="{0D1B2E49-5628-4660-9C32-3DC46239F2D4}" type="presParOf" srcId="{251E6251-2F8D-4FE5-9C62-3FCF8FE1A944}" destId="{AFA37FB9-8D34-4F9F-9F17-4B24C4C7A741}" srcOrd="7" destOrd="0" presId="urn:microsoft.com/office/officeart/2005/8/layout/hierarchy3"/>
    <dgm:cxn modelId="{665817A4-E0BF-4BD6-8DAF-C70F27C1405A}" type="presParOf" srcId="{DAE2805F-3FE4-4C49-86CE-7FCACA4A8B30}" destId="{5D88133D-488A-4FF0-98E2-C48B5E14208B}" srcOrd="1" destOrd="0" presId="urn:microsoft.com/office/officeart/2005/8/layout/hierarchy3"/>
    <dgm:cxn modelId="{F1D035A5-DBD1-46F1-845F-8D18D4E0FA48}" type="presParOf" srcId="{5D88133D-488A-4FF0-98E2-C48B5E14208B}" destId="{852532C5-FB48-460C-BE60-076F1869CC64}" srcOrd="0" destOrd="0" presId="urn:microsoft.com/office/officeart/2005/8/layout/hierarchy3"/>
    <dgm:cxn modelId="{C0BA7603-5E08-40F0-BCBC-5EC374202E41}" type="presParOf" srcId="{852532C5-FB48-460C-BE60-076F1869CC64}" destId="{A5A3AC7D-3320-4451-B9D2-6BEEB4B6EC47}" srcOrd="0" destOrd="0" presId="urn:microsoft.com/office/officeart/2005/8/layout/hierarchy3"/>
    <dgm:cxn modelId="{9275B267-7E34-4ADE-842E-4DBC68563DE8}" type="presParOf" srcId="{852532C5-FB48-460C-BE60-076F1869CC64}" destId="{574F3C86-2B71-43A0-A115-CC592050F57B}" srcOrd="1" destOrd="0" presId="urn:microsoft.com/office/officeart/2005/8/layout/hierarchy3"/>
    <dgm:cxn modelId="{7E5FD31B-EB72-49FD-ADDF-8B8A43FB67E4}" type="presParOf" srcId="{5D88133D-488A-4FF0-98E2-C48B5E14208B}" destId="{0D49607A-CB58-47CC-89AF-5C5E498C728F}" srcOrd="1" destOrd="0" presId="urn:microsoft.com/office/officeart/2005/8/layout/hierarchy3"/>
    <dgm:cxn modelId="{C81B3B9F-31C6-4022-8AC4-8354AA8B1CBA}" type="presParOf" srcId="{0D49607A-CB58-47CC-89AF-5C5E498C728F}" destId="{60A10C95-6088-425C-9563-0E34AC97F3A3}" srcOrd="0" destOrd="0" presId="urn:microsoft.com/office/officeart/2005/8/layout/hierarchy3"/>
    <dgm:cxn modelId="{4F8ABF2E-090A-4A2D-A1CF-B3544E1A3F1D}" type="presParOf" srcId="{0D49607A-CB58-47CC-89AF-5C5E498C728F}" destId="{E9C32B0A-D3E7-4B26-8DB5-88374224354E}" srcOrd="1" destOrd="0" presId="urn:microsoft.com/office/officeart/2005/8/layout/hierarchy3"/>
    <dgm:cxn modelId="{F37732FC-F615-4DCE-8C91-609C3282CF08}" type="presParOf" srcId="{0D49607A-CB58-47CC-89AF-5C5E498C728F}" destId="{3CF40A92-1FA8-4EFC-BD6A-0C15F6039118}" srcOrd="2" destOrd="0" presId="urn:microsoft.com/office/officeart/2005/8/layout/hierarchy3"/>
    <dgm:cxn modelId="{D81041B2-D136-4043-A5C1-DC84D2F489F7}" type="presParOf" srcId="{0D49607A-CB58-47CC-89AF-5C5E498C728F}" destId="{4720C595-7CBF-4B43-B502-EB7036853C9D}" srcOrd="3" destOrd="0" presId="urn:microsoft.com/office/officeart/2005/8/layout/hierarchy3"/>
    <dgm:cxn modelId="{77796A9B-2B43-4392-98D7-2707EB3C3FDF}" type="presParOf" srcId="{0D49607A-CB58-47CC-89AF-5C5E498C728F}" destId="{78A80FDE-F6FB-4A69-9DE8-1DDF3AE64736}" srcOrd="4" destOrd="0" presId="urn:microsoft.com/office/officeart/2005/8/layout/hierarchy3"/>
    <dgm:cxn modelId="{C0B0A87F-D441-4C5E-8EFB-BE878029067F}" type="presParOf" srcId="{0D49607A-CB58-47CC-89AF-5C5E498C728F}" destId="{5B00A866-DD19-497F-AC6C-F747286D8B6A}" srcOrd="5" destOrd="0" presId="urn:microsoft.com/office/officeart/2005/8/layout/hierarchy3"/>
    <dgm:cxn modelId="{CC0503A3-5E3E-43C5-B523-7FC4F7E755C6}" type="presParOf" srcId="{0D49607A-CB58-47CC-89AF-5C5E498C728F}" destId="{8F604B2C-F7B4-497D-B307-33372CDF27C4}" srcOrd="6" destOrd="0" presId="urn:microsoft.com/office/officeart/2005/8/layout/hierarchy3"/>
    <dgm:cxn modelId="{E69F46B3-B22E-40DC-9392-B633F436D54A}" type="presParOf" srcId="{0D49607A-CB58-47CC-89AF-5C5E498C728F}" destId="{6937A47F-D235-47C8-90BD-28F76BEE7C09}" srcOrd="7" destOrd="0" presId="urn:microsoft.com/office/officeart/2005/8/layout/hierarchy3"/>
    <dgm:cxn modelId="{D35081CB-9EE1-4DA2-83E9-839739457BC6}" type="presParOf" srcId="{DAE2805F-3FE4-4C49-86CE-7FCACA4A8B30}" destId="{38603EC9-D636-42ED-B554-D3DFFE135899}" srcOrd="2" destOrd="0" presId="urn:microsoft.com/office/officeart/2005/8/layout/hierarchy3"/>
    <dgm:cxn modelId="{84D5FD0C-2875-4292-94DE-A59C0EEF5C49}" type="presParOf" srcId="{38603EC9-D636-42ED-B554-D3DFFE135899}" destId="{B90A626D-A48C-4D9A-A1F6-8DB36182F29A}" srcOrd="0" destOrd="0" presId="urn:microsoft.com/office/officeart/2005/8/layout/hierarchy3"/>
    <dgm:cxn modelId="{64B84B56-41CE-4EE7-B82D-13194BB8E5E2}" type="presParOf" srcId="{B90A626D-A48C-4D9A-A1F6-8DB36182F29A}" destId="{32275CE2-4A70-47EE-A82F-0C5A86E064C8}" srcOrd="0" destOrd="0" presId="urn:microsoft.com/office/officeart/2005/8/layout/hierarchy3"/>
    <dgm:cxn modelId="{BB41DA38-6239-4FD2-BAB3-AA6065C1DF20}" type="presParOf" srcId="{B90A626D-A48C-4D9A-A1F6-8DB36182F29A}" destId="{89B019FF-83B8-49E1-B74F-914D6CD58A1E}" srcOrd="1" destOrd="0" presId="urn:microsoft.com/office/officeart/2005/8/layout/hierarchy3"/>
    <dgm:cxn modelId="{F491A011-AC96-42FE-8743-BBE663A0E128}" type="presParOf" srcId="{38603EC9-D636-42ED-B554-D3DFFE135899}" destId="{BAF16F21-216D-4EEF-B661-FAB547C0780B}" srcOrd="1" destOrd="0" presId="urn:microsoft.com/office/officeart/2005/8/layout/hierarchy3"/>
    <dgm:cxn modelId="{428538ED-6A7D-426D-91F0-02CD02CAFE6F}" type="presParOf" srcId="{BAF16F21-216D-4EEF-B661-FAB547C0780B}" destId="{D1AF47DB-F550-45B7-844E-6B2A3D9FBDDD}" srcOrd="0" destOrd="0" presId="urn:microsoft.com/office/officeart/2005/8/layout/hierarchy3"/>
    <dgm:cxn modelId="{815E62E1-5242-4E15-9A2F-BBBA0F61A153}" type="presParOf" srcId="{BAF16F21-216D-4EEF-B661-FAB547C0780B}" destId="{C5DA22B0-4517-42F2-90EC-D105E52BFA7E}" srcOrd="1" destOrd="0" presId="urn:microsoft.com/office/officeart/2005/8/layout/hierarchy3"/>
    <dgm:cxn modelId="{7239651B-66F8-4663-A903-16B5F9631D54}" type="presParOf" srcId="{BAF16F21-216D-4EEF-B661-FAB547C0780B}" destId="{3B38BF8E-D7F0-48FA-B57D-759718857710}" srcOrd="2" destOrd="0" presId="urn:microsoft.com/office/officeart/2005/8/layout/hierarchy3"/>
    <dgm:cxn modelId="{F1DA41A6-C830-4DE8-AEC0-2E356F95AAED}" type="presParOf" srcId="{BAF16F21-216D-4EEF-B661-FAB547C0780B}" destId="{2E1CB830-2DCF-4463-8AB6-20393E28A3EB}" srcOrd="3" destOrd="0" presId="urn:microsoft.com/office/officeart/2005/8/layout/hierarchy3"/>
    <dgm:cxn modelId="{20338534-D193-42CD-A762-0CCC70B16F1D}" type="presParOf" srcId="{BAF16F21-216D-4EEF-B661-FAB547C0780B}" destId="{E2024EB8-2226-43B3-B7EB-ADA399F279A6}" srcOrd="4" destOrd="0" presId="urn:microsoft.com/office/officeart/2005/8/layout/hierarchy3"/>
    <dgm:cxn modelId="{5D4EA17C-8F03-450B-BE6C-1D46570F1600}" type="presParOf" srcId="{BAF16F21-216D-4EEF-B661-FAB547C0780B}" destId="{339CB9C0-22D9-480B-827F-6264F338E94A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83D86F-3E42-43C6-A5AD-AB94788BEC5F}" type="doc">
      <dgm:prSet loTypeId="urn:microsoft.com/office/officeart/2005/8/layout/hList1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sv-SE"/>
        </a:p>
      </dgm:t>
    </dgm:pt>
    <dgm:pt modelId="{FD3E70DF-1514-4DE7-9CF4-1C572BA71784}">
      <dgm:prSet custT="1"/>
      <dgm:spPr/>
      <dgm:t>
        <a:bodyPr/>
        <a:lstStyle/>
        <a:p>
          <a:pPr rtl="0"/>
          <a:r>
            <a:rPr lang="en-US" sz="2800" b="1" dirty="0" smtClean="0"/>
            <a:t>Converters</a:t>
          </a:r>
          <a:endParaRPr lang="sv-SE" sz="2800" dirty="0"/>
        </a:p>
      </dgm:t>
    </dgm:pt>
    <dgm:pt modelId="{88A6A2AF-DB2E-49A4-84EF-47C50F41BAB7}" type="parTrans" cxnId="{024D926E-8AA4-4A69-804F-35D77ADC16AD}">
      <dgm:prSet/>
      <dgm:spPr/>
      <dgm:t>
        <a:bodyPr/>
        <a:lstStyle/>
        <a:p>
          <a:endParaRPr lang="sv-SE"/>
        </a:p>
      </dgm:t>
    </dgm:pt>
    <dgm:pt modelId="{22BF48B0-2F09-4BAF-82F1-7F012B609F22}" type="sibTrans" cxnId="{024D926E-8AA4-4A69-804F-35D77ADC16AD}">
      <dgm:prSet/>
      <dgm:spPr/>
      <dgm:t>
        <a:bodyPr/>
        <a:lstStyle/>
        <a:p>
          <a:endParaRPr lang="sv-SE"/>
        </a:p>
      </dgm:t>
    </dgm:pt>
    <dgm:pt modelId="{0A30CDA4-2B74-47B5-AA9C-E47B8BC9BCA4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The project intends to procure a turnkey solution (EPCIC) for the converter stations in Germany and Sweden and the cable sectioning station (CSS, only for Germany) including, but not limited to:</a:t>
          </a:r>
          <a:endParaRPr lang="sv-SE" sz="1400" dirty="0"/>
        </a:p>
      </dgm:t>
    </dgm:pt>
    <dgm:pt modelId="{AC6B7877-7147-4A4C-A514-D40F5EA95D38}" type="sibTrans" cxnId="{B6F730DD-682A-4E03-8727-3B5DB14EE1D5}">
      <dgm:prSet/>
      <dgm:spPr/>
      <dgm:t>
        <a:bodyPr/>
        <a:lstStyle/>
        <a:p>
          <a:endParaRPr lang="sv-SE"/>
        </a:p>
      </dgm:t>
    </dgm:pt>
    <dgm:pt modelId="{94458CD1-7B79-4364-85F7-78F464A30CD9}" type="parTrans" cxnId="{B6F730DD-682A-4E03-8727-3B5DB14EE1D5}">
      <dgm:prSet/>
      <dgm:spPr/>
      <dgm:t>
        <a:bodyPr/>
        <a:lstStyle/>
        <a:p>
          <a:endParaRPr lang="sv-SE"/>
        </a:p>
      </dgm:t>
    </dgm:pt>
    <dgm:pt modelId="{180E0712-C4B6-48C2-B659-3F1250A35FE8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	interface work with other packages within HPB scope (see slide 2)</a:t>
          </a:r>
          <a:endParaRPr lang="sv-SE" sz="1400" dirty="0"/>
        </a:p>
      </dgm:t>
    </dgm:pt>
    <dgm:pt modelId="{CA935899-23A1-46A0-BE1E-4ECB07C1780F}" type="sibTrans" cxnId="{CD648D0E-A0FA-4141-AFCE-9B98A2D59FA2}">
      <dgm:prSet/>
      <dgm:spPr/>
      <dgm:t>
        <a:bodyPr/>
        <a:lstStyle/>
        <a:p>
          <a:endParaRPr lang="sv-SE"/>
        </a:p>
      </dgm:t>
    </dgm:pt>
    <dgm:pt modelId="{EA5C1150-EDEF-4A9B-9B10-024BDAB3CF50}" type="parTrans" cxnId="{CD648D0E-A0FA-4141-AFCE-9B98A2D59FA2}">
      <dgm:prSet/>
      <dgm:spPr/>
      <dgm:t>
        <a:bodyPr/>
        <a:lstStyle/>
        <a:p>
          <a:endParaRPr lang="sv-SE"/>
        </a:p>
      </dgm:t>
    </dgm:pt>
    <dgm:pt modelId="{63CE5BD5-AAFC-4408-8474-93565C74E083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	civil work at the stations</a:t>
          </a:r>
          <a:endParaRPr lang="sv-SE" sz="1400" dirty="0"/>
        </a:p>
      </dgm:t>
    </dgm:pt>
    <dgm:pt modelId="{E13CF6DD-EA82-40DA-ADDC-B783B283FEB9}" type="parTrans" cxnId="{AC5B12D9-3A28-447A-8533-B473F110A9ED}">
      <dgm:prSet/>
      <dgm:spPr/>
      <dgm:t>
        <a:bodyPr/>
        <a:lstStyle/>
        <a:p>
          <a:endParaRPr lang="sv-SE"/>
        </a:p>
      </dgm:t>
    </dgm:pt>
    <dgm:pt modelId="{550A5EC0-545A-4E60-961F-58FD63F4C69B}" type="sibTrans" cxnId="{AC5B12D9-3A28-447A-8533-B473F110A9ED}">
      <dgm:prSet/>
      <dgm:spPr/>
      <dgm:t>
        <a:bodyPr/>
        <a:lstStyle/>
        <a:p>
          <a:endParaRPr lang="sv-SE"/>
        </a:p>
      </dgm:t>
    </dgm:pt>
    <dgm:pt modelId="{0C216AA0-554F-48A8-A8B0-81E5BFC348E9}">
      <dgm:prSet custT="1"/>
      <dgm:spPr/>
      <dgm:t>
        <a:bodyPr/>
        <a:lstStyle/>
        <a:p>
          <a:pPr algn="l" rtl="0">
            <a:lnSpc>
              <a:spcPct val="150000"/>
            </a:lnSpc>
          </a:pPr>
          <a:endParaRPr lang="sv-SE" sz="1400" dirty="0"/>
        </a:p>
      </dgm:t>
    </dgm:pt>
    <dgm:pt modelId="{15DC8907-3D50-4FE1-8470-475B78F093E9}" type="parTrans" cxnId="{2940D341-2190-490A-B325-37C00ADFC1DC}">
      <dgm:prSet/>
      <dgm:spPr/>
      <dgm:t>
        <a:bodyPr/>
        <a:lstStyle/>
        <a:p>
          <a:endParaRPr lang="sv-SE"/>
        </a:p>
      </dgm:t>
    </dgm:pt>
    <dgm:pt modelId="{06AE59DF-962D-42F0-89C4-E05B59A0844A}" type="sibTrans" cxnId="{2940D341-2190-490A-B325-37C00ADFC1DC}">
      <dgm:prSet/>
      <dgm:spPr/>
      <dgm:t>
        <a:bodyPr/>
        <a:lstStyle/>
        <a:p>
          <a:endParaRPr lang="sv-SE"/>
        </a:p>
      </dgm:t>
    </dgm:pt>
    <dgm:pt modelId="{1A18DC39-320F-4FF6-835B-871EAD9FA103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	HVDC buildings</a:t>
          </a:r>
          <a:endParaRPr lang="sv-SE" sz="1400" dirty="0"/>
        </a:p>
      </dgm:t>
    </dgm:pt>
    <dgm:pt modelId="{D2A535BD-C22F-474F-9FE8-6FBBF8D41EAC}" type="parTrans" cxnId="{D3E723FF-6935-4D29-B646-FEE771597D18}">
      <dgm:prSet/>
      <dgm:spPr/>
      <dgm:t>
        <a:bodyPr/>
        <a:lstStyle/>
        <a:p>
          <a:endParaRPr lang="sv-SE"/>
        </a:p>
      </dgm:t>
    </dgm:pt>
    <dgm:pt modelId="{26235B95-931E-4345-A895-D3BB68B2CE55}" type="sibTrans" cxnId="{D3E723FF-6935-4D29-B646-FEE771597D18}">
      <dgm:prSet/>
      <dgm:spPr/>
      <dgm:t>
        <a:bodyPr/>
        <a:lstStyle/>
        <a:p>
          <a:endParaRPr lang="sv-SE"/>
        </a:p>
      </dgm:t>
    </dgm:pt>
    <dgm:pt modelId="{AFD19702-A0E2-4286-92BD-E30A80E2209C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sv-SE" sz="1400" dirty="0" smtClean="0"/>
            <a:t>	all </a:t>
          </a:r>
          <a:r>
            <a:rPr lang="sv-SE" sz="1400" dirty="0" err="1" smtClean="0"/>
            <a:t>electrical</a:t>
          </a:r>
          <a:r>
            <a:rPr lang="sv-SE" sz="1400" dirty="0" smtClean="0"/>
            <a:t> </a:t>
          </a:r>
          <a:r>
            <a:rPr lang="sv-SE" sz="1400" dirty="0" err="1" smtClean="0"/>
            <a:t>equipment</a:t>
          </a:r>
          <a:r>
            <a:rPr lang="sv-SE" sz="1400" dirty="0" smtClean="0"/>
            <a:t>/system </a:t>
          </a:r>
          <a:r>
            <a:rPr lang="sv-SE" sz="1400" dirty="0" err="1" smtClean="0"/>
            <a:t>of</a:t>
          </a:r>
          <a:r>
            <a:rPr lang="sv-SE" sz="1400" dirty="0" smtClean="0"/>
            <a:t> the stations</a:t>
          </a:r>
          <a:endParaRPr lang="sv-SE" sz="1400" dirty="0"/>
        </a:p>
      </dgm:t>
    </dgm:pt>
    <dgm:pt modelId="{41E407B1-6FC6-45B5-90EC-4D61B00C7F69}" type="parTrans" cxnId="{8F2F9727-F689-47CD-ACC2-4E3640BB22F0}">
      <dgm:prSet/>
      <dgm:spPr/>
      <dgm:t>
        <a:bodyPr/>
        <a:lstStyle/>
        <a:p>
          <a:endParaRPr lang="sv-SE"/>
        </a:p>
      </dgm:t>
    </dgm:pt>
    <dgm:pt modelId="{AD613254-B113-4537-A89E-E7EEB943B38F}" type="sibTrans" cxnId="{8F2F9727-F689-47CD-ACC2-4E3640BB22F0}">
      <dgm:prSet/>
      <dgm:spPr/>
      <dgm:t>
        <a:bodyPr/>
        <a:lstStyle/>
        <a:p>
          <a:endParaRPr lang="sv-SE"/>
        </a:p>
      </dgm:t>
    </dgm:pt>
    <dgm:pt modelId="{9EF9BFE7-FE64-4071-857D-56DFD546D3D5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sv-SE" sz="1400" dirty="0" smtClean="0"/>
            <a:t>	system studies and </a:t>
          </a:r>
          <a:r>
            <a:rPr lang="sv-SE" sz="1400" dirty="0" err="1" smtClean="0"/>
            <a:t>control</a:t>
          </a:r>
          <a:r>
            <a:rPr lang="sv-SE" sz="1400" dirty="0" smtClean="0"/>
            <a:t> design </a:t>
          </a:r>
          <a:endParaRPr lang="sv-SE" sz="1400" dirty="0"/>
        </a:p>
      </dgm:t>
    </dgm:pt>
    <dgm:pt modelId="{EB7238B6-6289-4CE5-A223-76A7D7F4905D}" type="parTrans" cxnId="{BD0C05B4-CBA1-4FB4-9086-6AF025E2B388}">
      <dgm:prSet/>
      <dgm:spPr/>
      <dgm:t>
        <a:bodyPr/>
        <a:lstStyle/>
        <a:p>
          <a:endParaRPr lang="en-US"/>
        </a:p>
      </dgm:t>
    </dgm:pt>
    <dgm:pt modelId="{EC1AB1C2-E7BB-4638-B130-30003B416DB8}" type="sibTrans" cxnId="{BD0C05B4-CBA1-4FB4-9086-6AF025E2B388}">
      <dgm:prSet/>
      <dgm:spPr/>
      <dgm:t>
        <a:bodyPr/>
        <a:lstStyle/>
        <a:p>
          <a:endParaRPr lang="en-US"/>
        </a:p>
      </dgm:t>
    </dgm:pt>
    <dgm:pt modelId="{BA344731-E80A-404B-A52B-DA7FC0A927FB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sv-SE" sz="1400" dirty="0" smtClean="0"/>
            <a:t>	service </a:t>
          </a:r>
          <a:r>
            <a:rPr lang="sv-SE" sz="1400" dirty="0" smtClean="0"/>
            <a:t>agreement </a:t>
          </a:r>
          <a:endParaRPr lang="sv-SE" sz="1400" dirty="0"/>
        </a:p>
      </dgm:t>
    </dgm:pt>
    <dgm:pt modelId="{EE67CB7A-03E1-46DF-8BFF-55296D044393}" type="parTrans" cxnId="{D7B2D183-08A1-423E-BABD-39CEAD9F72E8}">
      <dgm:prSet/>
      <dgm:spPr/>
      <dgm:t>
        <a:bodyPr/>
        <a:lstStyle/>
        <a:p>
          <a:endParaRPr lang="en-US"/>
        </a:p>
      </dgm:t>
    </dgm:pt>
    <dgm:pt modelId="{B1E3B081-F558-45E0-8F06-620D6F549C97}" type="sibTrans" cxnId="{D7B2D183-08A1-423E-BABD-39CEAD9F72E8}">
      <dgm:prSet/>
      <dgm:spPr/>
      <dgm:t>
        <a:bodyPr/>
        <a:lstStyle/>
        <a:p>
          <a:endParaRPr lang="en-US"/>
        </a:p>
      </dgm:t>
    </dgm:pt>
    <dgm:pt modelId="{84F8C351-318B-4D6D-B947-C90D4552722B}" type="pres">
      <dgm:prSet presAssocID="{7483D86F-3E42-43C6-A5AD-AB94788BEC5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sv-SE"/>
        </a:p>
      </dgm:t>
    </dgm:pt>
    <dgm:pt modelId="{45ADBCAB-F97A-4157-AA04-E31DEF562A7C}" type="pres">
      <dgm:prSet presAssocID="{FD3E70DF-1514-4DE7-9CF4-1C572BA71784}" presName="composite" presStyleCnt="0"/>
      <dgm:spPr/>
    </dgm:pt>
    <dgm:pt modelId="{85EFF918-0F7A-415E-8F26-1CEFC721F1E0}" type="pres">
      <dgm:prSet presAssocID="{FD3E70DF-1514-4DE7-9CF4-1C572BA71784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648B0C3D-CA20-43D5-A12C-BBE2A3426B89}" type="pres">
      <dgm:prSet presAssocID="{FD3E70DF-1514-4DE7-9CF4-1C572BA71784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</dgm:ptLst>
  <dgm:cxnLst>
    <dgm:cxn modelId="{8F2F9727-F689-47CD-ACC2-4E3640BB22F0}" srcId="{0A30CDA4-2B74-47B5-AA9C-E47B8BC9BCA4}" destId="{AFD19702-A0E2-4286-92BD-E30A80E2209C}" srcOrd="3" destOrd="0" parTransId="{41E407B1-6FC6-45B5-90EC-4D61B00C7F69}" sibTransId="{AD613254-B113-4537-A89E-E7EEB943B38F}"/>
    <dgm:cxn modelId="{A33B68BC-6D9E-49DD-BAF8-0541614C449A}" type="presOf" srcId="{0A30CDA4-2B74-47B5-AA9C-E47B8BC9BCA4}" destId="{648B0C3D-CA20-43D5-A12C-BBE2A3426B89}" srcOrd="0" destOrd="0" presId="urn:microsoft.com/office/officeart/2005/8/layout/hList1"/>
    <dgm:cxn modelId="{517EF226-E2D7-4978-B5A3-527C12F55A94}" type="presOf" srcId="{BA344731-E80A-404B-A52B-DA7FC0A927FB}" destId="{648B0C3D-CA20-43D5-A12C-BBE2A3426B89}" srcOrd="0" destOrd="6" presId="urn:microsoft.com/office/officeart/2005/8/layout/hList1"/>
    <dgm:cxn modelId="{3DA17EED-C4FC-4BB1-A5AE-EDA04824E13C}" type="presOf" srcId="{7483D86F-3E42-43C6-A5AD-AB94788BEC5F}" destId="{84F8C351-318B-4D6D-B947-C90D4552722B}" srcOrd="0" destOrd="0" presId="urn:microsoft.com/office/officeart/2005/8/layout/hList1"/>
    <dgm:cxn modelId="{B6F730DD-682A-4E03-8727-3B5DB14EE1D5}" srcId="{FD3E70DF-1514-4DE7-9CF4-1C572BA71784}" destId="{0A30CDA4-2B74-47B5-AA9C-E47B8BC9BCA4}" srcOrd="0" destOrd="0" parTransId="{94458CD1-7B79-4364-85F7-78F464A30CD9}" sibTransId="{AC6B7877-7147-4A4C-A514-D40F5EA95D38}"/>
    <dgm:cxn modelId="{BD0C05B4-CBA1-4FB4-9086-6AF025E2B388}" srcId="{0A30CDA4-2B74-47B5-AA9C-E47B8BC9BCA4}" destId="{9EF9BFE7-FE64-4071-857D-56DFD546D3D5}" srcOrd="4" destOrd="0" parTransId="{EB7238B6-6289-4CE5-A223-76A7D7F4905D}" sibTransId="{EC1AB1C2-E7BB-4638-B130-30003B416DB8}"/>
    <dgm:cxn modelId="{7175415D-C33F-40BE-8C51-36652FB0690B}" type="presOf" srcId="{63CE5BD5-AAFC-4408-8474-93565C74E083}" destId="{648B0C3D-CA20-43D5-A12C-BBE2A3426B89}" srcOrd="0" destOrd="1" presId="urn:microsoft.com/office/officeart/2005/8/layout/hList1"/>
    <dgm:cxn modelId="{2940D341-2190-490A-B325-37C00ADFC1DC}" srcId="{FD3E70DF-1514-4DE7-9CF4-1C572BA71784}" destId="{0C216AA0-554F-48A8-A8B0-81E5BFC348E9}" srcOrd="1" destOrd="0" parTransId="{15DC8907-3D50-4FE1-8470-475B78F093E9}" sibTransId="{06AE59DF-962D-42F0-89C4-E05B59A0844A}"/>
    <dgm:cxn modelId="{AC5B12D9-3A28-447A-8533-B473F110A9ED}" srcId="{0A30CDA4-2B74-47B5-AA9C-E47B8BC9BCA4}" destId="{63CE5BD5-AAFC-4408-8474-93565C74E083}" srcOrd="0" destOrd="0" parTransId="{E13CF6DD-EA82-40DA-ADDC-B783B283FEB9}" sibTransId="{550A5EC0-545A-4E60-961F-58FD63F4C69B}"/>
    <dgm:cxn modelId="{CD648D0E-A0FA-4141-AFCE-9B98A2D59FA2}" srcId="{0A30CDA4-2B74-47B5-AA9C-E47B8BC9BCA4}" destId="{180E0712-C4B6-48C2-B659-3F1250A35FE8}" srcOrd="2" destOrd="0" parTransId="{EA5C1150-EDEF-4A9B-9B10-024BDAB3CF50}" sibTransId="{CA935899-23A1-46A0-BE1E-4ECB07C1780F}"/>
    <dgm:cxn modelId="{024D926E-8AA4-4A69-804F-35D77ADC16AD}" srcId="{7483D86F-3E42-43C6-A5AD-AB94788BEC5F}" destId="{FD3E70DF-1514-4DE7-9CF4-1C572BA71784}" srcOrd="0" destOrd="0" parTransId="{88A6A2AF-DB2E-49A4-84EF-47C50F41BAB7}" sibTransId="{22BF48B0-2F09-4BAF-82F1-7F012B609F22}"/>
    <dgm:cxn modelId="{AC0010A5-EDE1-47F5-8193-7492F113B371}" type="presOf" srcId="{AFD19702-A0E2-4286-92BD-E30A80E2209C}" destId="{648B0C3D-CA20-43D5-A12C-BBE2A3426B89}" srcOrd="0" destOrd="4" presId="urn:microsoft.com/office/officeart/2005/8/layout/hList1"/>
    <dgm:cxn modelId="{8DDA85B8-90F4-4974-BCD8-EC2E789D8B3D}" type="presOf" srcId="{0C216AA0-554F-48A8-A8B0-81E5BFC348E9}" destId="{648B0C3D-CA20-43D5-A12C-BBE2A3426B89}" srcOrd="0" destOrd="7" presId="urn:microsoft.com/office/officeart/2005/8/layout/hList1"/>
    <dgm:cxn modelId="{D3E723FF-6935-4D29-B646-FEE771597D18}" srcId="{0A30CDA4-2B74-47B5-AA9C-E47B8BC9BCA4}" destId="{1A18DC39-320F-4FF6-835B-871EAD9FA103}" srcOrd="1" destOrd="0" parTransId="{D2A535BD-C22F-474F-9FE8-6FBBF8D41EAC}" sibTransId="{26235B95-931E-4345-A895-D3BB68B2CE55}"/>
    <dgm:cxn modelId="{183DE022-8D3E-4822-BB32-8A38ECCD95B1}" type="presOf" srcId="{9EF9BFE7-FE64-4071-857D-56DFD546D3D5}" destId="{648B0C3D-CA20-43D5-A12C-BBE2A3426B89}" srcOrd="0" destOrd="5" presId="urn:microsoft.com/office/officeart/2005/8/layout/hList1"/>
    <dgm:cxn modelId="{D7B2D183-08A1-423E-BABD-39CEAD9F72E8}" srcId="{0A30CDA4-2B74-47B5-AA9C-E47B8BC9BCA4}" destId="{BA344731-E80A-404B-A52B-DA7FC0A927FB}" srcOrd="5" destOrd="0" parTransId="{EE67CB7A-03E1-46DF-8BFF-55296D044393}" sibTransId="{B1E3B081-F558-45E0-8F06-620D6F549C97}"/>
    <dgm:cxn modelId="{1C6006DE-97A8-4BC0-B3BF-4C6050C0D617}" type="presOf" srcId="{1A18DC39-320F-4FF6-835B-871EAD9FA103}" destId="{648B0C3D-CA20-43D5-A12C-BBE2A3426B89}" srcOrd="0" destOrd="2" presId="urn:microsoft.com/office/officeart/2005/8/layout/hList1"/>
    <dgm:cxn modelId="{0D5E9F6C-D257-4919-BC6B-64EB71BD65AB}" type="presOf" srcId="{FD3E70DF-1514-4DE7-9CF4-1C572BA71784}" destId="{85EFF918-0F7A-415E-8F26-1CEFC721F1E0}" srcOrd="0" destOrd="0" presId="urn:microsoft.com/office/officeart/2005/8/layout/hList1"/>
    <dgm:cxn modelId="{4048848A-28CA-4C0D-A5A5-66A86D671060}" type="presOf" srcId="{180E0712-C4B6-48C2-B659-3F1250A35FE8}" destId="{648B0C3D-CA20-43D5-A12C-BBE2A3426B89}" srcOrd="0" destOrd="3" presId="urn:microsoft.com/office/officeart/2005/8/layout/hList1"/>
    <dgm:cxn modelId="{AE98A8AB-D748-40AD-AA09-39342305FFD5}" type="presParOf" srcId="{84F8C351-318B-4D6D-B947-C90D4552722B}" destId="{45ADBCAB-F97A-4157-AA04-E31DEF562A7C}" srcOrd="0" destOrd="0" presId="urn:microsoft.com/office/officeart/2005/8/layout/hList1"/>
    <dgm:cxn modelId="{26AC8599-39FB-4287-AF7A-7C3C3F8877BF}" type="presParOf" srcId="{45ADBCAB-F97A-4157-AA04-E31DEF562A7C}" destId="{85EFF918-0F7A-415E-8F26-1CEFC721F1E0}" srcOrd="0" destOrd="0" presId="urn:microsoft.com/office/officeart/2005/8/layout/hList1"/>
    <dgm:cxn modelId="{38169D0F-0001-47D7-A69E-BE05ED52558C}" type="presParOf" srcId="{45ADBCAB-F97A-4157-AA04-E31DEF562A7C}" destId="{648B0C3D-CA20-43D5-A12C-BBE2A3426B8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83D86F-3E42-43C6-A5AD-AB94788BEC5F}" type="doc">
      <dgm:prSet loTypeId="urn:microsoft.com/office/officeart/2005/8/layout/hList1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sv-SE"/>
        </a:p>
      </dgm:t>
    </dgm:pt>
    <dgm:pt modelId="{FD3E70DF-1514-4DE7-9CF4-1C572BA71784}">
      <dgm:prSet custT="1"/>
      <dgm:spPr/>
      <dgm:t>
        <a:bodyPr/>
        <a:lstStyle/>
        <a:p>
          <a:pPr rtl="0"/>
          <a:r>
            <a:rPr lang="de-DE" sz="2800" b="1" dirty="0" smtClean="0"/>
            <a:t>Cables</a:t>
          </a:r>
          <a:endParaRPr lang="sv-SE" sz="2800" dirty="0"/>
        </a:p>
      </dgm:t>
    </dgm:pt>
    <dgm:pt modelId="{88A6A2AF-DB2E-49A4-84EF-47C50F41BAB7}" type="parTrans" cxnId="{024D926E-8AA4-4A69-804F-35D77ADC16AD}">
      <dgm:prSet/>
      <dgm:spPr/>
      <dgm:t>
        <a:bodyPr/>
        <a:lstStyle/>
        <a:p>
          <a:endParaRPr lang="sv-SE"/>
        </a:p>
      </dgm:t>
    </dgm:pt>
    <dgm:pt modelId="{22BF48B0-2F09-4BAF-82F1-7F012B609F22}" type="sibTrans" cxnId="{024D926E-8AA4-4A69-804F-35D77ADC16AD}">
      <dgm:prSet/>
      <dgm:spPr/>
      <dgm:t>
        <a:bodyPr/>
        <a:lstStyle/>
        <a:p>
          <a:endParaRPr lang="sv-SE"/>
        </a:p>
      </dgm:t>
    </dgm:pt>
    <dgm:pt modelId="{0A30CDA4-2B74-47B5-AA9C-E47B8BC9BCA4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The project intends to procure a turnkey solution for cables including, but not limited to:</a:t>
          </a:r>
          <a:endParaRPr lang="sv-SE" sz="1400" dirty="0"/>
        </a:p>
      </dgm:t>
    </dgm:pt>
    <dgm:pt modelId="{94458CD1-7B79-4364-85F7-78F464A30CD9}" type="parTrans" cxnId="{B6F730DD-682A-4E03-8727-3B5DB14EE1D5}">
      <dgm:prSet/>
      <dgm:spPr/>
      <dgm:t>
        <a:bodyPr/>
        <a:lstStyle/>
        <a:p>
          <a:endParaRPr lang="sv-SE"/>
        </a:p>
      </dgm:t>
    </dgm:pt>
    <dgm:pt modelId="{AC6B7877-7147-4A4C-A514-D40F5EA95D38}" type="sibTrans" cxnId="{B6F730DD-682A-4E03-8727-3B5DB14EE1D5}">
      <dgm:prSet/>
      <dgm:spPr/>
      <dgm:t>
        <a:bodyPr/>
        <a:lstStyle/>
        <a:p>
          <a:endParaRPr lang="sv-SE"/>
        </a:p>
      </dgm:t>
    </dgm:pt>
    <dgm:pt modelId="{653E252A-D18A-4504-8B34-B15FCAC1456B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	the </a:t>
          </a:r>
          <a:r>
            <a:rPr lang="en-US" sz="1400" dirty="0" smtClean="0"/>
            <a:t>land cable </a:t>
          </a:r>
          <a:r>
            <a:rPr lang="en-US" sz="1400" dirty="0" smtClean="0"/>
            <a:t>system in Germany and Sweden</a:t>
          </a:r>
          <a:endParaRPr lang="sv-SE" sz="1400" dirty="0"/>
        </a:p>
      </dgm:t>
    </dgm:pt>
    <dgm:pt modelId="{7669A11C-2A52-485E-883C-428197643FEB}" type="parTrans" cxnId="{F9B6A34C-FF38-4E90-9C06-E1540F257F67}">
      <dgm:prSet/>
      <dgm:spPr/>
      <dgm:t>
        <a:bodyPr/>
        <a:lstStyle/>
        <a:p>
          <a:endParaRPr lang="sv-SE"/>
        </a:p>
      </dgm:t>
    </dgm:pt>
    <dgm:pt modelId="{F02C6B93-26A2-4F92-AC31-2CA8172A3169}" type="sibTrans" cxnId="{F9B6A34C-FF38-4E90-9C06-E1540F257F67}">
      <dgm:prSet/>
      <dgm:spPr/>
      <dgm:t>
        <a:bodyPr/>
        <a:lstStyle/>
        <a:p>
          <a:endParaRPr lang="sv-SE"/>
        </a:p>
      </dgm:t>
    </dgm:pt>
    <dgm:pt modelId="{9F9FA9A7-E5DF-45BD-B7FD-4AD82DA62568}">
      <dgm:prSet custT="1"/>
      <dgm:spPr/>
      <dgm:t>
        <a:bodyPr/>
        <a:lstStyle/>
        <a:p>
          <a:pPr algn="l" rtl="0">
            <a:lnSpc>
              <a:spcPct val="150000"/>
            </a:lnSpc>
          </a:pPr>
          <a:r>
            <a:rPr lang="en-US" sz="1400" dirty="0" smtClean="0"/>
            <a:t>	the </a:t>
          </a:r>
          <a:r>
            <a:rPr lang="en-US" sz="1400" dirty="0" smtClean="0"/>
            <a:t>submarine cable </a:t>
          </a:r>
          <a:r>
            <a:rPr lang="en-US" sz="1400" dirty="0" smtClean="0"/>
            <a:t>system </a:t>
          </a:r>
          <a:endParaRPr lang="sv-SE" sz="1400" dirty="0"/>
        </a:p>
      </dgm:t>
    </dgm:pt>
    <dgm:pt modelId="{C9474A57-3BC3-4139-9C87-8B66759D123F}" type="sibTrans" cxnId="{663E1BA7-B7C6-4D98-841C-D6034D270E56}">
      <dgm:prSet/>
      <dgm:spPr/>
      <dgm:t>
        <a:bodyPr/>
        <a:lstStyle/>
        <a:p>
          <a:endParaRPr lang="sv-SE"/>
        </a:p>
      </dgm:t>
    </dgm:pt>
    <dgm:pt modelId="{F0EFE4AD-44FB-4E9D-A50D-83A5966423AB}" type="parTrans" cxnId="{663E1BA7-B7C6-4D98-841C-D6034D270E56}">
      <dgm:prSet/>
      <dgm:spPr/>
      <dgm:t>
        <a:bodyPr/>
        <a:lstStyle/>
        <a:p>
          <a:endParaRPr lang="sv-SE"/>
        </a:p>
      </dgm:t>
    </dgm:pt>
    <dgm:pt modelId="{79FA872D-4018-42E8-8837-A2D308B4D2B5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 smtClean="0"/>
            <a:t>	the </a:t>
          </a:r>
          <a:r>
            <a:rPr lang="en-US" sz="1400" dirty="0" smtClean="0"/>
            <a:t>optical land cable </a:t>
          </a:r>
          <a:r>
            <a:rPr lang="en-US" sz="1400" dirty="0" smtClean="0"/>
            <a:t>in Germany and Sweden</a:t>
          </a:r>
          <a:endParaRPr lang="sv-SE" sz="1400" dirty="0" smtClean="0"/>
        </a:p>
      </dgm:t>
    </dgm:pt>
    <dgm:pt modelId="{5CCED19A-637F-49AF-A9AC-13226AF76A0D}" type="sibTrans" cxnId="{4827CEC1-CFCC-4114-A4C6-038EB72F3442}">
      <dgm:prSet/>
      <dgm:spPr/>
      <dgm:t>
        <a:bodyPr/>
        <a:lstStyle/>
        <a:p>
          <a:endParaRPr lang="sv-SE"/>
        </a:p>
      </dgm:t>
    </dgm:pt>
    <dgm:pt modelId="{B8C65C26-5EDC-42C7-B02B-B125ED961184}" type="parTrans" cxnId="{4827CEC1-CFCC-4114-A4C6-038EB72F3442}">
      <dgm:prSet/>
      <dgm:spPr/>
      <dgm:t>
        <a:bodyPr/>
        <a:lstStyle/>
        <a:p>
          <a:endParaRPr lang="sv-SE"/>
        </a:p>
      </dgm:t>
    </dgm:pt>
    <dgm:pt modelId="{FCA70A99-CE9D-4B13-B255-088DB9C736CC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 smtClean="0"/>
            <a:t>	the </a:t>
          </a:r>
          <a:r>
            <a:rPr lang="en-US" sz="1400" dirty="0" smtClean="0"/>
            <a:t>optical submarine cable</a:t>
          </a:r>
          <a:endParaRPr lang="sv-SE" sz="1400" dirty="0" smtClean="0"/>
        </a:p>
      </dgm:t>
    </dgm:pt>
    <dgm:pt modelId="{CB83BA81-C7C4-4DE4-8291-51E37E040F6E}" type="sibTrans" cxnId="{FC2E8F2E-C23A-40D1-A604-23783F76F502}">
      <dgm:prSet/>
      <dgm:spPr/>
      <dgm:t>
        <a:bodyPr/>
        <a:lstStyle/>
        <a:p>
          <a:endParaRPr lang="sv-SE"/>
        </a:p>
      </dgm:t>
    </dgm:pt>
    <dgm:pt modelId="{A55A0138-8EDE-490F-936C-E9941795FE6C}" type="parTrans" cxnId="{FC2E8F2E-C23A-40D1-A604-23783F76F502}">
      <dgm:prSet/>
      <dgm:spPr/>
      <dgm:t>
        <a:bodyPr/>
        <a:lstStyle/>
        <a:p>
          <a:endParaRPr lang="sv-SE"/>
        </a:p>
      </dgm:t>
    </dgm:pt>
    <dgm:pt modelId="{F837ED33-D854-4566-AF2B-6F0291F1923B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400" dirty="0" smtClean="0"/>
            <a:t>	the </a:t>
          </a:r>
          <a:r>
            <a:rPr lang="en-US" sz="1400" dirty="0" smtClean="0"/>
            <a:t>optical </a:t>
          </a:r>
          <a:r>
            <a:rPr lang="en-US" sz="1400" dirty="0" smtClean="0"/>
            <a:t>shed in Sweden</a:t>
          </a:r>
          <a:endParaRPr lang="sv-SE" sz="1400" dirty="0" smtClean="0"/>
        </a:p>
      </dgm:t>
    </dgm:pt>
    <dgm:pt modelId="{C8FE0D7B-F99C-4F80-9BA1-855858923477}" type="sibTrans" cxnId="{EE3B97C0-E39A-470B-BA66-656599FE1132}">
      <dgm:prSet/>
      <dgm:spPr/>
      <dgm:t>
        <a:bodyPr/>
        <a:lstStyle/>
        <a:p>
          <a:endParaRPr lang="sv-SE"/>
        </a:p>
      </dgm:t>
    </dgm:pt>
    <dgm:pt modelId="{AC2E074A-A727-4238-A6D2-62E935CFEF27}" type="parTrans" cxnId="{EE3B97C0-E39A-470B-BA66-656599FE1132}">
      <dgm:prSet/>
      <dgm:spPr/>
      <dgm:t>
        <a:bodyPr/>
        <a:lstStyle/>
        <a:p>
          <a:endParaRPr lang="sv-SE"/>
        </a:p>
      </dgm:t>
    </dgm:pt>
    <dgm:pt modelId="{B76B7505-1FE6-4EEA-9DD1-1305F2229D4F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sv-SE" sz="1400" dirty="0" smtClean="0"/>
            <a:t>	service </a:t>
          </a:r>
          <a:r>
            <a:rPr lang="sv-SE" sz="1400" dirty="0" err="1" smtClean="0"/>
            <a:t>agreement</a:t>
          </a:r>
          <a:endParaRPr lang="sv-SE" sz="1400" dirty="0" smtClean="0"/>
        </a:p>
      </dgm:t>
    </dgm:pt>
    <dgm:pt modelId="{7A390C8A-4BDB-4B91-B4BA-05E968CD987F}" type="parTrans" cxnId="{C0637107-2375-4F5A-9647-3D2F89A04066}">
      <dgm:prSet/>
      <dgm:spPr/>
      <dgm:t>
        <a:bodyPr/>
        <a:lstStyle/>
        <a:p>
          <a:endParaRPr lang="sv-SE"/>
        </a:p>
      </dgm:t>
    </dgm:pt>
    <dgm:pt modelId="{C23FCCD7-DF42-4BD0-9B75-E3F12E5953BA}" type="sibTrans" cxnId="{C0637107-2375-4F5A-9647-3D2F89A04066}">
      <dgm:prSet/>
      <dgm:spPr/>
      <dgm:t>
        <a:bodyPr/>
        <a:lstStyle/>
        <a:p>
          <a:endParaRPr lang="sv-SE"/>
        </a:p>
      </dgm:t>
    </dgm:pt>
    <dgm:pt modelId="{84F8C351-318B-4D6D-B947-C90D4552722B}" type="pres">
      <dgm:prSet presAssocID="{7483D86F-3E42-43C6-A5AD-AB94788BEC5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sv-SE"/>
        </a:p>
      </dgm:t>
    </dgm:pt>
    <dgm:pt modelId="{45ADBCAB-F97A-4157-AA04-E31DEF562A7C}" type="pres">
      <dgm:prSet presAssocID="{FD3E70DF-1514-4DE7-9CF4-1C572BA71784}" presName="composite" presStyleCnt="0"/>
      <dgm:spPr/>
    </dgm:pt>
    <dgm:pt modelId="{85EFF918-0F7A-415E-8F26-1CEFC721F1E0}" type="pres">
      <dgm:prSet presAssocID="{FD3E70DF-1514-4DE7-9CF4-1C572BA71784}" presName="parTx" presStyleLbl="alignNode1" presStyleIdx="0" presStyleCnt="1" custLinFactNeighborX="96" custLinFactNeighborY="-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648B0C3D-CA20-43D5-A12C-BBE2A3426B89}" type="pres">
      <dgm:prSet presAssocID="{FD3E70DF-1514-4DE7-9CF4-1C572BA71784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</dgm:ptLst>
  <dgm:cxnLst>
    <dgm:cxn modelId="{637884E8-02BC-4AC9-AA8F-E360E604BA4D}" type="presOf" srcId="{FCA70A99-CE9D-4B13-B255-088DB9C736CC}" destId="{648B0C3D-CA20-43D5-A12C-BBE2A3426B89}" srcOrd="0" destOrd="4" presId="urn:microsoft.com/office/officeart/2005/8/layout/hList1"/>
    <dgm:cxn modelId="{B6F730DD-682A-4E03-8727-3B5DB14EE1D5}" srcId="{FD3E70DF-1514-4DE7-9CF4-1C572BA71784}" destId="{0A30CDA4-2B74-47B5-AA9C-E47B8BC9BCA4}" srcOrd="0" destOrd="0" parTransId="{94458CD1-7B79-4364-85F7-78F464A30CD9}" sibTransId="{AC6B7877-7147-4A4C-A514-D40F5EA95D38}"/>
    <dgm:cxn modelId="{4827CEC1-CFCC-4114-A4C6-038EB72F3442}" srcId="{0A30CDA4-2B74-47B5-AA9C-E47B8BC9BCA4}" destId="{79FA872D-4018-42E8-8837-A2D308B4D2B5}" srcOrd="2" destOrd="0" parTransId="{B8C65C26-5EDC-42C7-B02B-B125ED961184}" sibTransId="{5CCED19A-637F-49AF-A9AC-13226AF76A0D}"/>
    <dgm:cxn modelId="{3DA17EED-C4FC-4BB1-A5AE-EDA04824E13C}" type="presOf" srcId="{7483D86F-3E42-43C6-A5AD-AB94788BEC5F}" destId="{84F8C351-318B-4D6D-B947-C90D4552722B}" srcOrd="0" destOrd="0" presId="urn:microsoft.com/office/officeart/2005/8/layout/hList1"/>
    <dgm:cxn modelId="{C0637107-2375-4F5A-9647-3D2F89A04066}" srcId="{0A30CDA4-2B74-47B5-AA9C-E47B8BC9BCA4}" destId="{B76B7505-1FE6-4EEA-9DD1-1305F2229D4F}" srcOrd="5" destOrd="0" parTransId="{7A390C8A-4BDB-4B91-B4BA-05E968CD987F}" sibTransId="{C23FCCD7-DF42-4BD0-9B75-E3F12E5953BA}"/>
    <dgm:cxn modelId="{93614656-5E68-400C-BA24-3752985809B7}" type="presOf" srcId="{F837ED33-D854-4566-AF2B-6F0291F1923B}" destId="{648B0C3D-CA20-43D5-A12C-BBE2A3426B89}" srcOrd="0" destOrd="5" presId="urn:microsoft.com/office/officeart/2005/8/layout/hList1"/>
    <dgm:cxn modelId="{663E1BA7-B7C6-4D98-841C-D6034D270E56}" srcId="{0A30CDA4-2B74-47B5-AA9C-E47B8BC9BCA4}" destId="{9F9FA9A7-E5DF-45BD-B7FD-4AD82DA62568}" srcOrd="1" destOrd="0" parTransId="{F0EFE4AD-44FB-4E9D-A50D-83A5966423AB}" sibTransId="{C9474A57-3BC3-4139-9C87-8B66759D123F}"/>
    <dgm:cxn modelId="{0D5E9F6C-D257-4919-BC6B-64EB71BD65AB}" type="presOf" srcId="{FD3E70DF-1514-4DE7-9CF4-1C572BA71784}" destId="{85EFF918-0F7A-415E-8F26-1CEFC721F1E0}" srcOrd="0" destOrd="0" presId="urn:microsoft.com/office/officeart/2005/8/layout/hList1"/>
    <dgm:cxn modelId="{024D926E-8AA4-4A69-804F-35D77ADC16AD}" srcId="{7483D86F-3E42-43C6-A5AD-AB94788BEC5F}" destId="{FD3E70DF-1514-4DE7-9CF4-1C572BA71784}" srcOrd="0" destOrd="0" parTransId="{88A6A2AF-DB2E-49A4-84EF-47C50F41BAB7}" sibTransId="{22BF48B0-2F09-4BAF-82F1-7F012B609F22}"/>
    <dgm:cxn modelId="{EE3B97C0-E39A-470B-BA66-656599FE1132}" srcId="{0A30CDA4-2B74-47B5-AA9C-E47B8BC9BCA4}" destId="{F837ED33-D854-4566-AF2B-6F0291F1923B}" srcOrd="4" destOrd="0" parTransId="{AC2E074A-A727-4238-A6D2-62E935CFEF27}" sibTransId="{C8FE0D7B-F99C-4F80-9BA1-855858923477}"/>
    <dgm:cxn modelId="{A33B68BC-6D9E-49DD-BAF8-0541614C449A}" type="presOf" srcId="{0A30CDA4-2B74-47B5-AA9C-E47B8BC9BCA4}" destId="{648B0C3D-CA20-43D5-A12C-BBE2A3426B89}" srcOrd="0" destOrd="0" presId="urn:microsoft.com/office/officeart/2005/8/layout/hList1"/>
    <dgm:cxn modelId="{B4E03BDC-3ABC-4162-BE22-704FDD792705}" type="presOf" srcId="{653E252A-D18A-4504-8B34-B15FCAC1456B}" destId="{648B0C3D-CA20-43D5-A12C-BBE2A3426B89}" srcOrd="0" destOrd="1" presId="urn:microsoft.com/office/officeart/2005/8/layout/hList1"/>
    <dgm:cxn modelId="{10B48FC7-AE4C-4891-81D4-E03F28A974F5}" type="presOf" srcId="{79FA872D-4018-42E8-8837-A2D308B4D2B5}" destId="{648B0C3D-CA20-43D5-A12C-BBE2A3426B89}" srcOrd="0" destOrd="3" presId="urn:microsoft.com/office/officeart/2005/8/layout/hList1"/>
    <dgm:cxn modelId="{F9B6A34C-FF38-4E90-9C06-E1540F257F67}" srcId="{0A30CDA4-2B74-47B5-AA9C-E47B8BC9BCA4}" destId="{653E252A-D18A-4504-8B34-B15FCAC1456B}" srcOrd="0" destOrd="0" parTransId="{7669A11C-2A52-485E-883C-428197643FEB}" sibTransId="{F02C6B93-26A2-4F92-AC31-2CA8172A3169}"/>
    <dgm:cxn modelId="{FC2E8F2E-C23A-40D1-A604-23783F76F502}" srcId="{0A30CDA4-2B74-47B5-AA9C-E47B8BC9BCA4}" destId="{FCA70A99-CE9D-4B13-B255-088DB9C736CC}" srcOrd="3" destOrd="0" parTransId="{A55A0138-8EDE-490F-936C-E9941795FE6C}" sibTransId="{CB83BA81-C7C4-4DE4-8291-51E37E040F6E}"/>
    <dgm:cxn modelId="{3AEC424C-7B63-43E7-9044-94E348D1E050}" type="presOf" srcId="{B76B7505-1FE6-4EEA-9DD1-1305F2229D4F}" destId="{648B0C3D-CA20-43D5-A12C-BBE2A3426B89}" srcOrd="0" destOrd="6" presId="urn:microsoft.com/office/officeart/2005/8/layout/hList1"/>
    <dgm:cxn modelId="{2A00F689-7F21-47E1-8BF1-8A4C3465C6B7}" type="presOf" srcId="{9F9FA9A7-E5DF-45BD-B7FD-4AD82DA62568}" destId="{648B0C3D-CA20-43D5-A12C-BBE2A3426B89}" srcOrd="0" destOrd="2" presId="urn:microsoft.com/office/officeart/2005/8/layout/hList1"/>
    <dgm:cxn modelId="{AE98A8AB-D748-40AD-AA09-39342305FFD5}" type="presParOf" srcId="{84F8C351-318B-4D6D-B947-C90D4552722B}" destId="{45ADBCAB-F97A-4157-AA04-E31DEF562A7C}" srcOrd="0" destOrd="0" presId="urn:microsoft.com/office/officeart/2005/8/layout/hList1"/>
    <dgm:cxn modelId="{26AC8599-39FB-4287-AF7A-7C3C3F8877BF}" type="presParOf" srcId="{45ADBCAB-F97A-4157-AA04-E31DEF562A7C}" destId="{85EFF918-0F7A-415E-8F26-1CEFC721F1E0}" srcOrd="0" destOrd="0" presId="urn:microsoft.com/office/officeart/2005/8/layout/hList1"/>
    <dgm:cxn modelId="{38169D0F-0001-47D7-A69E-BE05ED52558C}" type="presParOf" srcId="{45ADBCAB-F97A-4157-AA04-E31DEF562A7C}" destId="{648B0C3D-CA20-43D5-A12C-BBE2A3426B8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7B2CCE-A147-42BB-A08C-21334927DA91}">
      <dsp:nvSpPr>
        <dsp:cNvPr id="0" name=""/>
        <dsp:cNvSpPr/>
      </dsp:nvSpPr>
      <dsp:spPr>
        <a:xfrm>
          <a:off x="2318372" y="2122"/>
          <a:ext cx="1510753" cy="7553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600" kern="1200" dirty="0" err="1" smtClean="0"/>
            <a:t>Converter</a:t>
          </a:r>
          <a:endParaRPr lang="sv-SE" sz="1600" kern="1200" dirty="0" smtClean="0"/>
        </a:p>
      </dsp:txBody>
      <dsp:txXfrm>
        <a:off x="2340496" y="24246"/>
        <a:ext cx="1466505" cy="711128"/>
      </dsp:txXfrm>
    </dsp:sp>
    <dsp:sp modelId="{598604F2-9CAD-4DC8-A98B-3E40B7ED54CF}">
      <dsp:nvSpPr>
        <dsp:cNvPr id="0" name=""/>
        <dsp:cNvSpPr/>
      </dsp:nvSpPr>
      <dsp:spPr>
        <a:xfrm>
          <a:off x="2469448" y="757498"/>
          <a:ext cx="151075" cy="566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6532"/>
              </a:lnTo>
              <a:lnTo>
                <a:pt x="151075" y="56653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53427F-D7D3-4AA3-B1BC-24A27DE36571}">
      <dsp:nvSpPr>
        <dsp:cNvPr id="0" name=""/>
        <dsp:cNvSpPr/>
      </dsp:nvSpPr>
      <dsp:spPr>
        <a:xfrm>
          <a:off x="2620523" y="946342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dirty="0" err="1" smtClean="0"/>
            <a:t>Turn-key</a:t>
          </a:r>
          <a:r>
            <a:rPr lang="sv-SE" sz="1400" kern="1200" dirty="0" smtClean="0"/>
            <a:t> </a:t>
          </a:r>
          <a:r>
            <a:rPr lang="sv-SE" sz="1400" kern="1200" dirty="0" err="1" smtClean="0"/>
            <a:t>contract</a:t>
          </a:r>
          <a:endParaRPr lang="sv-SE" sz="1400" kern="1200" dirty="0"/>
        </a:p>
      </dsp:txBody>
      <dsp:txXfrm>
        <a:off x="2642647" y="968466"/>
        <a:ext cx="1164354" cy="711128"/>
      </dsp:txXfrm>
    </dsp:sp>
    <dsp:sp modelId="{C3BE2766-8FD8-4BEE-B382-7D60376BDC57}">
      <dsp:nvSpPr>
        <dsp:cNvPr id="0" name=""/>
        <dsp:cNvSpPr/>
      </dsp:nvSpPr>
      <dsp:spPr>
        <a:xfrm>
          <a:off x="2469448" y="757498"/>
          <a:ext cx="151075" cy="15107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0753"/>
              </a:lnTo>
              <a:lnTo>
                <a:pt x="151075" y="151075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0778D9-8B74-45A5-8A2B-F6E1FE54BA1B}">
      <dsp:nvSpPr>
        <dsp:cNvPr id="0" name=""/>
        <dsp:cNvSpPr/>
      </dsp:nvSpPr>
      <dsp:spPr>
        <a:xfrm>
          <a:off x="2620523" y="1890563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ne tripartite contract</a:t>
          </a:r>
          <a:endParaRPr lang="sv-SE" sz="1400" kern="1200" dirty="0"/>
        </a:p>
      </dsp:txBody>
      <dsp:txXfrm>
        <a:off x="2642647" y="1912687"/>
        <a:ext cx="1164354" cy="711128"/>
      </dsp:txXfrm>
    </dsp:sp>
    <dsp:sp modelId="{8092138F-51B5-4002-BD19-FBD4FE058A43}">
      <dsp:nvSpPr>
        <dsp:cNvPr id="0" name=""/>
        <dsp:cNvSpPr/>
      </dsp:nvSpPr>
      <dsp:spPr>
        <a:xfrm>
          <a:off x="2469448" y="757498"/>
          <a:ext cx="151075" cy="2454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4973"/>
              </a:lnTo>
              <a:lnTo>
                <a:pt x="151075" y="245497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AA5171-C286-4F1F-AB59-27439B476DA8}">
      <dsp:nvSpPr>
        <dsp:cNvPr id="0" name=""/>
        <dsp:cNvSpPr/>
      </dsp:nvSpPr>
      <dsp:spPr>
        <a:xfrm>
          <a:off x="2620523" y="2834784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mmon procurement (lead </a:t>
          </a:r>
          <a:r>
            <a:rPr lang="en-US" sz="1400" kern="1200" dirty="0" err="1" smtClean="0"/>
            <a:t>Svk</a:t>
          </a:r>
          <a:r>
            <a:rPr lang="en-US" sz="1400" kern="1200" dirty="0" smtClean="0"/>
            <a:t>)</a:t>
          </a:r>
          <a:endParaRPr lang="sv-SE" sz="1400" kern="1200" dirty="0"/>
        </a:p>
      </dsp:txBody>
      <dsp:txXfrm>
        <a:off x="2642647" y="2856908"/>
        <a:ext cx="1164354" cy="711128"/>
      </dsp:txXfrm>
    </dsp:sp>
    <dsp:sp modelId="{9AB2A617-C184-4C1F-BE3B-81803AFB8265}">
      <dsp:nvSpPr>
        <dsp:cNvPr id="0" name=""/>
        <dsp:cNvSpPr/>
      </dsp:nvSpPr>
      <dsp:spPr>
        <a:xfrm>
          <a:off x="2469448" y="757498"/>
          <a:ext cx="151075" cy="3399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99194"/>
              </a:lnTo>
              <a:lnTo>
                <a:pt x="151075" y="339919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A37FB9-8D34-4F9F-9F17-4B24C4C7A741}">
      <dsp:nvSpPr>
        <dsp:cNvPr id="0" name=""/>
        <dsp:cNvSpPr/>
      </dsp:nvSpPr>
      <dsp:spPr>
        <a:xfrm>
          <a:off x="2620523" y="3779005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smtClean="0"/>
            <a:t>FIDIC Yellow Book 1999</a:t>
          </a:r>
          <a:endParaRPr lang="sv-SE" sz="1400" kern="1200" dirty="0"/>
        </a:p>
      </dsp:txBody>
      <dsp:txXfrm>
        <a:off x="2642647" y="3801129"/>
        <a:ext cx="1164354" cy="711128"/>
      </dsp:txXfrm>
    </dsp:sp>
    <dsp:sp modelId="{A5A3AC7D-3320-4451-B9D2-6BEEB4B6EC47}">
      <dsp:nvSpPr>
        <dsp:cNvPr id="0" name=""/>
        <dsp:cNvSpPr/>
      </dsp:nvSpPr>
      <dsp:spPr>
        <a:xfrm>
          <a:off x="4206814" y="2122"/>
          <a:ext cx="1510753" cy="7553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600" kern="1200" dirty="0" smtClean="0"/>
            <a:t>Cables</a:t>
          </a:r>
          <a:endParaRPr lang="sv-SE" sz="1600" kern="1200" dirty="0"/>
        </a:p>
      </dsp:txBody>
      <dsp:txXfrm>
        <a:off x="4228938" y="24246"/>
        <a:ext cx="1466505" cy="711128"/>
      </dsp:txXfrm>
    </dsp:sp>
    <dsp:sp modelId="{60A10C95-6088-425C-9563-0E34AC97F3A3}">
      <dsp:nvSpPr>
        <dsp:cNvPr id="0" name=""/>
        <dsp:cNvSpPr/>
      </dsp:nvSpPr>
      <dsp:spPr>
        <a:xfrm>
          <a:off x="4357889" y="757498"/>
          <a:ext cx="151075" cy="566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6532"/>
              </a:lnTo>
              <a:lnTo>
                <a:pt x="151075" y="56653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C32B0A-D3E7-4B26-8DB5-88374224354E}">
      <dsp:nvSpPr>
        <dsp:cNvPr id="0" name=""/>
        <dsp:cNvSpPr/>
      </dsp:nvSpPr>
      <dsp:spPr>
        <a:xfrm>
          <a:off x="4508964" y="946342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dirty="0" err="1" smtClean="0"/>
            <a:t>Turn-key</a:t>
          </a:r>
          <a:r>
            <a:rPr lang="sv-SE" sz="1400" kern="1200" dirty="0" smtClean="0"/>
            <a:t> </a:t>
          </a:r>
          <a:r>
            <a:rPr lang="sv-SE" sz="1400" kern="1200" dirty="0" err="1" smtClean="0"/>
            <a:t>contract</a:t>
          </a:r>
          <a:endParaRPr lang="sv-SE" sz="1400" kern="1200" dirty="0"/>
        </a:p>
      </dsp:txBody>
      <dsp:txXfrm>
        <a:off x="4531088" y="968466"/>
        <a:ext cx="1164354" cy="711128"/>
      </dsp:txXfrm>
    </dsp:sp>
    <dsp:sp modelId="{3CF40A92-1FA8-4EFC-BD6A-0C15F6039118}">
      <dsp:nvSpPr>
        <dsp:cNvPr id="0" name=""/>
        <dsp:cNvSpPr/>
      </dsp:nvSpPr>
      <dsp:spPr>
        <a:xfrm>
          <a:off x="4357889" y="757498"/>
          <a:ext cx="151075" cy="15107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10753"/>
              </a:lnTo>
              <a:lnTo>
                <a:pt x="151075" y="151075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20C595-7CBF-4B43-B502-EB7036853C9D}">
      <dsp:nvSpPr>
        <dsp:cNvPr id="0" name=""/>
        <dsp:cNvSpPr/>
      </dsp:nvSpPr>
      <dsp:spPr>
        <a:xfrm>
          <a:off x="4508964" y="1890563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ne tripartite contract</a:t>
          </a:r>
          <a:endParaRPr lang="sv-SE" sz="1400" kern="1200" dirty="0"/>
        </a:p>
      </dsp:txBody>
      <dsp:txXfrm>
        <a:off x="4531088" y="1912687"/>
        <a:ext cx="1164354" cy="711128"/>
      </dsp:txXfrm>
    </dsp:sp>
    <dsp:sp modelId="{78A80FDE-F6FB-4A69-9DE8-1DDF3AE64736}">
      <dsp:nvSpPr>
        <dsp:cNvPr id="0" name=""/>
        <dsp:cNvSpPr/>
      </dsp:nvSpPr>
      <dsp:spPr>
        <a:xfrm>
          <a:off x="4357889" y="757498"/>
          <a:ext cx="151075" cy="2454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54973"/>
              </a:lnTo>
              <a:lnTo>
                <a:pt x="151075" y="245497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00A866-DD19-497F-AC6C-F747286D8B6A}">
      <dsp:nvSpPr>
        <dsp:cNvPr id="0" name=""/>
        <dsp:cNvSpPr/>
      </dsp:nvSpPr>
      <dsp:spPr>
        <a:xfrm>
          <a:off x="4508964" y="2834784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mmon procurement (lead 50Hertz)</a:t>
          </a:r>
          <a:endParaRPr lang="sv-SE" sz="1400" kern="1200" dirty="0"/>
        </a:p>
      </dsp:txBody>
      <dsp:txXfrm>
        <a:off x="4531088" y="2856908"/>
        <a:ext cx="1164354" cy="711128"/>
      </dsp:txXfrm>
    </dsp:sp>
    <dsp:sp modelId="{8F604B2C-F7B4-497D-B307-33372CDF27C4}">
      <dsp:nvSpPr>
        <dsp:cNvPr id="0" name=""/>
        <dsp:cNvSpPr/>
      </dsp:nvSpPr>
      <dsp:spPr>
        <a:xfrm>
          <a:off x="4357889" y="757498"/>
          <a:ext cx="151075" cy="33991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99194"/>
              </a:lnTo>
              <a:lnTo>
                <a:pt x="151075" y="339919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37A47F-D235-47C8-90BD-28F76BEE7C09}">
      <dsp:nvSpPr>
        <dsp:cNvPr id="0" name=""/>
        <dsp:cNvSpPr/>
      </dsp:nvSpPr>
      <dsp:spPr>
        <a:xfrm>
          <a:off x="4508964" y="3779005"/>
          <a:ext cx="1208602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dirty="0" smtClean="0"/>
            <a:t>FIDIC </a:t>
          </a:r>
          <a:r>
            <a:rPr lang="sv-SE" sz="1400" kern="1200" dirty="0" err="1" smtClean="0"/>
            <a:t>Yellow</a:t>
          </a:r>
          <a:r>
            <a:rPr lang="sv-SE" sz="1400" kern="1200" dirty="0" smtClean="0"/>
            <a:t> Book 1999</a:t>
          </a:r>
          <a:endParaRPr lang="sv-SE" sz="1400" kern="1200" dirty="0"/>
        </a:p>
      </dsp:txBody>
      <dsp:txXfrm>
        <a:off x="4531088" y="3801129"/>
        <a:ext cx="1164354" cy="711128"/>
      </dsp:txXfrm>
    </dsp:sp>
    <dsp:sp modelId="{32275CE2-4A70-47EE-A82F-0C5A86E064C8}">
      <dsp:nvSpPr>
        <dsp:cNvPr id="0" name=""/>
        <dsp:cNvSpPr/>
      </dsp:nvSpPr>
      <dsp:spPr>
        <a:xfrm>
          <a:off x="7143990" y="2122"/>
          <a:ext cx="1510753" cy="75537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dirty="0" err="1" smtClean="0"/>
            <a:t>Separate</a:t>
          </a:r>
          <a:r>
            <a:rPr lang="sv-SE" sz="1400" kern="1200" dirty="0" smtClean="0"/>
            <a:t> </a:t>
          </a:r>
          <a:r>
            <a:rPr lang="sv-SE" sz="1400" kern="1200" dirty="0" err="1" smtClean="0"/>
            <a:t>packages</a:t>
          </a:r>
          <a:endParaRPr lang="sv-SE" sz="1400" kern="1200" dirty="0"/>
        </a:p>
      </dsp:txBody>
      <dsp:txXfrm>
        <a:off x="7166114" y="24246"/>
        <a:ext cx="1466505" cy="711128"/>
      </dsp:txXfrm>
    </dsp:sp>
    <dsp:sp modelId="{D1AF47DB-F550-45B7-844E-6B2A3D9FBDDD}">
      <dsp:nvSpPr>
        <dsp:cNvPr id="0" name=""/>
        <dsp:cNvSpPr/>
      </dsp:nvSpPr>
      <dsp:spPr>
        <a:xfrm>
          <a:off x="7295065" y="757498"/>
          <a:ext cx="197950" cy="566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6532"/>
              </a:lnTo>
              <a:lnTo>
                <a:pt x="197950" y="56653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DA22B0-4517-42F2-90EC-D105E52BFA7E}">
      <dsp:nvSpPr>
        <dsp:cNvPr id="0" name=""/>
        <dsp:cNvSpPr/>
      </dsp:nvSpPr>
      <dsp:spPr>
        <a:xfrm>
          <a:off x="7493016" y="946342"/>
          <a:ext cx="1135433" cy="7553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C substations extensions</a:t>
          </a:r>
          <a:endParaRPr lang="sv-SE" sz="1400" kern="1200" dirty="0"/>
        </a:p>
      </dsp:txBody>
      <dsp:txXfrm>
        <a:off x="7515140" y="968466"/>
        <a:ext cx="1091185" cy="711128"/>
      </dsp:txXfrm>
    </dsp:sp>
    <dsp:sp modelId="{3B38BF8E-D7F0-48FA-B57D-759718857710}">
      <dsp:nvSpPr>
        <dsp:cNvPr id="0" name=""/>
        <dsp:cNvSpPr/>
      </dsp:nvSpPr>
      <dsp:spPr>
        <a:xfrm>
          <a:off x="7295065" y="757498"/>
          <a:ext cx="151081" cy="17451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5135"/>
              </a:lnTo>
              <a:lnTo>
                <a:pt x="151081" y="174513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1CB830-2DCF-4463-8AB6-20393E28A3EB}">
      <dsp:nvSpPr>
        <dsp:cNvPr id="0" name=""/>
        <dsp:cNvSpPr/>
      </dsp:nvSpPr>
      <dsp:spPr>
        <a:xfrm>
          <a:off x="7446147" y="1890563"/>
          <a:ext cx="1362469" cy="122414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ubing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(Civil works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for the cable route) German side</a:t>
          </a:r>
          <a:endParaRPr lang="en-US" sz="1600" kern="1200" dirty="0" smtClean="0"/>
        </a:p>
      </dsp:txBody>
      <dsp:txXfrm>
        <a:off x="7482001" y="1926417"/>
        <a:ext cx="1290761" cy="1152432"/>
      </dsp:txXfrm>
    </dsp:sp>
    <dsp:sp modelId="{E2024EB8-2226-43B3-B7EB-ADA399F279A6}">
      <dsp:nvSpPr>
        <dsp:cNvPr id="0" name=""/>
        <dsp:cNvSpPr/>
      </dsp:nvSpPr>
      <dsp:spPr>
        <a:xfrm>
          <a:off x="7295065" y="757498"/>
          <a:ext cx="289405" cy="30786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642"/>
              </a:lnTo>
              <a:lnTo>
                <a:pt x="289405" y="307864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9CB9C0-22D9-480B-827F-6264F338E94A}">
      <dsp:nvSpPr>
        <dsp:cNvPr id="0" name=""/>
        <dsp:cNvSpPr/>
      </dsp:nvSpPr>
      <dsp:spPr>
        <a:xfrm>
          <a:off x="7584471" y="3421734"/>
          <a:ext cx="1208602" cy="82881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ther works</a:t>
          </a:r>
        </a:p>
      </dsp:txBody>
      <dsp:txXfrm>
        <a:off x="7608746" y="3446009"/>
        <a:ext cx="1160052" cy="7802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EFF918-0F7A-415E-8F26-1CEFC721F1E0}">
      <dsp:nvSpPr>
        <dsp:cNvPr id="0" name=""/>
        <dsp:cNvSpPr/>
      </dsp:nvSpPr>
      <dsp:spPr>
        <a:xfrm>
          <a:off x="0" y="14427"/>
          <a:ext cx="10078249" cy="1296000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/>
            <a:t>Converters</a:t>
          </a:r>
          <a:endParaRPr lang="sv-SE" sz="2800" kern="1200" dirty="0"/>
        </a:p>
      </dsp:txBody>
      <dsp:txXfrm>
        <a:off x="0" y="14427"/>
        <a:ext cx="10078249" cy="1296000"/>
      </dsp:txXfrm>
    </dsp:sp>
    <dsp:sp modelId="{648B0C3D-CA20-43D5-A12C-BBE2A3426B89}">
      <dsp:nvSpPr>
        <dsp:cNvPr id="0" name=""/>
        <dsp:cNvSpPr/>
      </dsp:nvSpPr>
      <dsp:spPr>
        <a:xfrm>
          <a:off x="0" y="1310427"/>
          <a:ext cx="10078249" cy="321164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The project intends to procure a turnkey solution (EPCIC) for the converter stations in Germany and Sweden and the cable sectioning station (CSS, only for Germany) including, but not limited to: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civil work at the stations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HVDC buildings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interface work with other packages within HPB scope (see slide 2)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400" kern="1200" dirty="0" smtClean="0"/>
            <a:t>	all </a:t>
          </a:r>
          <a:r>
            <a:rPr lang="sv-SE" sz="1400" kern="1200" dirty="0" err="1" smtClean="0"/>
            <a:t>electrical</a:t>
          </a:r>
          <a:r>
            <a:rPr lang="sv-SE" sz="1400" kern="1200" dirty="0" smtClean="0"/>
            <a:t> </a:t>
          </a:r>
          <a:r>
            <a:rPr lang="sv-SE" sz="1400" kern="1200" dirty="0" err="1" smtClean="0"/>
            <a:t>equipment</a:t>
          </a:r>
          <a:r>
            <a:rPr lang="sv-SE" sz="1400" kern="1200" dirty="0" smtClean="0"/>
            <a:t>/system </a:t>
          </a:r>
          <a:r>
            <a:rPr lang="sv-SE" sz="1400" kern="1200" dirty="0" err="1" smtClean="0"/>
            <a:t>of</a:t>
          </a:r>
          <a:r>
            <a:rPr lang="sv-SE" sz="1400" kern="1200" dirty="0" smtClean="0"/>
            <a:t> the stations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400" kern="1200" dirty="0" smtClean="0"/>
            <a:t>	system studies and </a:t>
          </a:r>
          <a:r>
            <a:rPr lang="sv-SE" sz="1400" kern="1200" dirty="0" err="1" smtClean="0"/>
            <a:t>control</a:t>
          </a:r>
          <a:r>
            <a:rPr lang="sv-SE" sz="1400" kern="1200" dirty="0" smtClean="0"/>
            <a:t> design 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400" kern="1200" dirty="0" smtClean="0"/>
            <a:t>	service </a:t>
          </a:r>
          <a:r>
            <a:rPr lang="sv-SE" sz="1400" kern="1200" dirty="0" smtClean="0"/>
            <a:t>agreement </a:t>
          </a:r>
          <a:endParaRPr lang="sv-SE" sz="1400" kern="1200" dirty="0"/>
        </a:p>
        <a:p>
          <a:pPr marL="114300" lvl="1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sv-SE" sz="1400" kern="1200" dirty="0"/>
        </a:p>
      </dsp:txBody>
      <dsp:txXfrm>
        <a:off x="0" y="1310427"/>
        <a:ext cx="10078249" cy="32116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EFF918-0F7A-415E-8F26-1CEFC721F1E0}">
      <dsp:nvSpPr>
        <dsp:cNvPr id="0" name=""/>
        <dsp:cNvSpPr/>
      </dsp:nvSpPr>
      <dsp:spPr>
        <a:xfrm>
          <a:off x="0" y="13753"/>
          <a:ext cx="10078249" cy="1785600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b="1" kern="1200" dirty="0" smtClean="0"/>
            <a:t>Cables</a:t>
          </a:r>
          <a:endParaRPr lang="sv-SE" sz="2800" kern="1200" dirty="0"/>
        </a:p>
      </dsp:txBody>
      <dsp:txXfrm>
        <a:off x="0" y="13753"/>
        <a:ext cx="10078249" cy="1785600"/>
      </dsp:txXfrm>
    </dsp:sp>
    <dsp:sp modelId="{648B0C3D-CA20-43D5-A12C-BBE2A3426B89}">
      <dsp:nvSpPr>
        <dsp:cNvPr id="0" name=""/>
        <dsp:cNvSpPr/>
      </dsp:nvSpPr>
      <dsp:spPr>
        <a:xfrm>
          <a:off x="0" y="1799531"/>
          <a:ext cx="10078249" cy="27230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The project intends to procure a turnkey solution for cables including, but not limited to: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the </a:t>
          </a:r>
          <a:r>
            <a:rPr lang="en-US" sz="1400" kern="1200" dirty="0" smtClean="0"/>
            <a:t>land cable </a:t>
          </a:r>
          <a:r>
            <a:rPr lang="en-US" sz="1400" kern="1200" dirty="0" smtClean="0"/>
            <a:t>system in Germany and Sweden</a:t>
          </a:r>
          <a:endParaRPr lang="sv-SE" sz="1400" kern="1200" dirty="0"/>
        </a:p>
        <a:p>
          <a:pPr marL="228600" lvl="2" indent="-114300" algn="l" defTabSz="622300" rtl="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the </a:t>
          </a:r>
          <a:r>
            <a:rPr lang="en-US" sz="1400" kern="1200" dirty="0" smtClean="0"/>
            <a:t>submarine cable </a:t>
          </a:r>
          <a:r>
            <a:rPr lang="en-US" sz="1400" kern="1200" dirty="0" smtClean="0"/>
            <a:t>system </a:t>
          </a:r>
          <a:endParaRPr lang="sv-SE" sz="1400" kern="1200" dirty="0"/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the </a:t>
          </a:r>
          <a:r>
            <a:rPr lang="en-US" sz="1400" kern="1200" dirty="0" smtClean="0"/>
            <a:t>optical land cable </a:t>
          </a:r>
          <a:r>
            <a:rPr lang="en-US" sz="1400" kern="1200" dirty="0" smtClean="0"/>
            <a:t>in Germany and Sweden</a:t>
          </a:r>
          <a:endParaRPr lang="sv-SE" sz="1400" kern="1200" dirty="0" smtClean="0"/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the </a:t>
          </a:r>
          <a:r>
            <a:rPr lang="en-US" sz="1400" kern="1200" dirty="0" smtClean="0"/>
            <a:t>optical submarine cable</a:t>
          </a:r>
          <a:endParaRPr lang="sv-SE" sz="1400" kern="1200" dirty="0" smtClean="0"/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	the </a:t>
          </a:r>
          <a:r>
            <a:rPr lang="en-US" sz="1400" kern="1200" dirty="0" smtClean="0"/>
            <a:t>optical </a:t>
          </a:r>
          <a:r>
            <a:rPr lang="en-US" sz="1400" kern="1200" dirty="0" smtClean="0"/>
            <a:t>shed in Sweden</a:t>
          </a:r>
          <a:endParaRPr lang="sv-SE" sz="1400" kern="1200" dirty="0" smtClean="0"/>
        </a:p>
        <a:p>
          <a:pPr marL="228600" lvl="2" indent="-114300" algn="l" defTabSz="62230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400" kern="1200" dirty="0" smtClean="0"/>
            <a:t>	service </a:t>
          </a:r>
          <a:r>
            <a:rPr lang="sv-SE" sz="1400" kern="1200" dirty="0" err="1" smtClean="0"/>
            <a:t>agreement</a:t>
          </a:r>
          <a:endParaRPr lang="sv-SE" sz="1400" kern="1200" dirty="0" smtClean="0"/>
        </a:p>
      </dsp:txBody>
      <dsp:txXfrm>
        <a:off x="0" y="1799531"/>
        <a:ext cx="10078249" cy="2723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28FDBC-E101-2B41-97A4-EB6371AF7F8B}" type="datetimeFigureOut">
              <a:rPr lang="de-DE" smtClean="0"/>
              <a:t>19.11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38117-D0DA-934D-A20E-3262460F4F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0799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FED464-9406-1847-9C73-7DDF1F521A5F}" type="datetimeFigureOut">
              <a:rPr lang="de-DE" smtClean="0"/>
              <a:t>19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06A953-8247-5943-B60D-0DCEA270FD6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97694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6A953-8247-5943-B60D-0DCEA270FD6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914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6A953-8247-5943-B60D-0DCEA270FD6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8147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68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50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sv-SE" sz="29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06465923510743429ABE56442CDEC2A0@corp.transmission-it.de" descr="06465923510743429ABE56442CDEC2A0@corp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69" t="22615" b="13913"/>
          <a:stretch/>
        </p:blipFill>
        <p:spPr bwMode="auto">
          <a:xfrm>
            <a:off x="-24680" y="0"/>
            <a:ext cx="12216680" cy="6885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/>
          <p:cNvSpPr/>
          <p:nvPr userDrawn="1"/>
        </p:nvSpPr>
        <p:spPr>
          <a:xfrm>
            <a:off x="-29730" y="0"/>
            <a:ext cx="12221730" cy="6885384"/>
          </a:xfrm>
          <a:prstGeom prst="rect">
            <a:avLst/>
          </a:prstGeom>
          <a:solidFill>
            <a:srgbClr val="FFFFFF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8" name="Picture 26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78167" y="5210111"/>
            <a:ext cx="2391247" cy="695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Bild 10">
            <a:extLst>
              <a:ext uri="{FF2B5EF4-FFF2-40B4-BE49-F238E27FC236}">
                <a16:creationId xmlns:a16="http://schemas.microsoft.com/office/drawing/2014/main" id="{A409CA58-2949-4334-AF6E-BB147ACA8D5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44272" y="5186027"/>
            <a:ext cx="2515822" cy="923185"/>
          </a:xfrm>
          <a:prstGeom prst="rect">
            <a:avLst/>
          </a:prstGeom>
        </p:spPr>
      </p:pic>
      <p:sp>
        <p:nvSpPr>
          <p:cNvPr id="13" name="Titel 5"/>
          <p:cNvSpPr>
            <a:spLocks noGrp="1"/>
          </p:cNvSpPr>
          <p:nvPr>
            <p:ph type="ctrTitle"/>
          </p:nvPr>
        </p:nvSpPr>
        <p:spPr>
          <a:xfrm>
            <a:off x="2927648" y="2204864"/>
            <a:ext cx="8208912" cy="2016224"/>
          </a:xfrm>
          <a:solidFill>
            <a:srgbClr val="F2F2F2">
              <a:alpha val="54902"/>
            </a:srgbClr>
          </a:solidFill>
        </p:spPr>
        <p:txBody>
          <a:bodyPr anchor="t"/>
          <a:lstStyle/>
          <a:p>
            <a:pPr>
              <a:lnSpc>
                <a:spcPct val="150000"/>
              </a:lnSpc>
            </a:pPr>
            <a:r>
              <a:rPr lang="en-GB" dirty="0" smtClean="0"/>
              <a:t>Hansa </a:t>
            </a:r>
            <a:r>
              <a:rPr lang="en-GB" dirty="0"/>
              <a:t>PowerBridge</a:t>
            </a:r>
            <a:br>
              <a:rPr lang="en-GB" dirty="0"/>
            </a:br>
            <a:r>
              <a:rPr lang="en-GB" sz="2000" dirty="0" smtClean="0"/>
              <a:t>Title of Meeting</a:t>
            </a:r>
            <a:br>
              <a:rPr lang="en-GB" sz="2000" dirty="0" smtClean="0"/>
            </a:br>
            <a:r>
              <a:rPr lang="en-GB" sz="2000" dirty="0" smtClean="0"/>
              <a:t>Date (YYYY-MM-DD) </a:t>
            </a:r>
            <a:r>
              <a:rPr lang="en-GB" sz="2000" dirty="0"/>
              <a:t>| </a:t>
            </a:r>
            <a:r>
              <a:rPr lang="en-GB" sz="2000" dirty="0" smtClean="0"/>
              <a:t>Moderator/Manag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5417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73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24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sv-SE" sz="289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103811" y="468622"/>
            <a:ext cx="10078249" cy="728776"/>
          </a:xfrm>
        </p:spPr>
        <p:txBody>
          <a:bodyPr/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103811" y="1268760"/>
            <a:ext cx="10078249" cy="453650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>
              <a:spcBef>
                <a:spcPts val="600"/>
              </a:spcBef>
              <a:spcAft>
                <a:spcPts val="600"/>
              </a:spcAft>
              <a:defRPr/>
            </a:lvl3pPr>
            <a:lvl4pPr>
              <a:spcBef>
                <a:spcPts val="600"/>
              </a:spcBef>
              <a:spcAft>
                <a:spcPts val="600"/>
              </a:spcAft>
              <a:defRPr/>
            </a:lvl4pPr>
            <a:lvl5pPr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sv-SE" dirty="0" smtClean="0"/>
              <a:t>Redigera format för bakgrundstext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5DF6A3-71A4-4141-8675-DE14763EFB72}" type="slidenum">
              <a:rPr lang="sv-SE"/>
              <a:pPr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7078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103807" y="2088001"/>
            <a:ext cx="4943141" cy="3708000"/>
          </a:xfrm>
        </p:spPr>
        <p:txBody>
          <a:bodyPr/>
          <a:lstStyle>
            <a:lvl1pPr>
              <a:defRPr sz="1999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238914" y="2088001"/>
            <a:ext cx="4943141" cy="3708000"/>
          </a:xfrm>
        </p:spPr>
        <p:txBody>
          <a:bodyPr/>
          <a:lstStyle>
            <a:lvl1pPr>
              <a:defRPr sz="1999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BF27DE-3542-4305-B2C5-E040C75B7B15}" type="slidenum">
              <a:rPr lang="sv-SE"/>
              <a:pPr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9750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1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7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sv-SE" sz="29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36D299-AEE8-4CD0-96AE-BEC3F2C9D14E}" type="slidenum">
              <a:rPr lang="sv-SE"/>
              <a:pPr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831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Project Hansa PowerBridge| Event | Moderator</a:t>
            </a:r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6ECB32-ACFA-4A2A-9DE2-C5BB3344D82D}" type="slidenum">
              <a:rPr lang="sv-SE"/>
              <a:pPr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4814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utan str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6ECB32-ACFA-4A2A-9DE2-C5BB3344D82D}" type="slidenum">
              <a:rPr lang="sv-SE"/>
              <a:pPr/>
              <a:t>‹Nr.›</a:t>
            </a:fld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1295"/>
            <a:ext cx="1889016" cy="54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970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, inledn. sammanfattn. sluts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908" tIns="41454" rIns="82908" bIns="41454" rtlCol="0" anchor="ctr"/>
          <a:lstStyle/>
          <a:p>
            <a:pPr algn="ctr"/>
            <a:endParaRPr lang="sv-SE" sz="1799"/>
          </a:p>
        </p:txBody>
      </p:sp>
      <p:cxnSp>
        <p:nvCxnSpPr>
          <p:cNvPr id="5" name="Rak 4"/>
          <p:cNvCxnSpPr/>
          <p:nvPr userDrawn="1"/>
        </p:nvCxnSpPr>
        <p:spPr>
          <a:xfrm>
            <a:off x="1103453" y="476672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ak 5"/>
          <p:cNvCxnSpPr/>
          <p:nvPr userDrawn="1"/>
        </p:nvCxnSpPr>
        <p:spPr>
          <a:xfrm>
            <a:off x="1103453" y="5805265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3290"/>
            <a:ext cx="1889016" cy="54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atshållare för innehåll 10"/>
          <p:cNvSpPr>
            <a:spLocks noGrp="1"/>
          </p:cNvSpPr>
          <p:nvPr>
            <p:ph sz="quarter" idx="10" hasCustomPrompt="1"/>
          </p:nvPr>
        </p:nvSpPr>
        <p:spPr>
          <a:xfrm>
            <a:off x="1200311" y="2348881"/>
            <a:ext cx="9791389" cy="1080120"/>
          </a:xfrm>
        </p:spPr>
        <p:txBody>
          <a:bodyPr/>
          <a:lstStyle>
            <a:lvl1pPr marL="0" indent="0" algn="ctr">
              <a:buNone/>
              <a:defRPr sz="28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smtClean="0"/>
              <a:t>Pagebreak</a:t>
            </a:r>
            <a:endParaRPr lang="sv-SE" dirty="0"/>
          </a:p>
        </p:txBody>
      </p:sp>
      <p:pic>
        <p:nvPicPr>
          <p:cNvPr id="10" name="Bild 10">
            <a:extLst>
              <a:ext uri="{FF2B5EF4-FFF2-40B4-BE49-F238E27FC236}">
                <a16:creationId xmlns:a16="http://schemas.microsoft.com/office/drawing/2014/main" id="{A409CA58-2949-4334-AF6E-BB147ACA8D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2080" y="5891211"/>
            <a:ext cx="2093600" cy="76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807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92028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1" name="think-cell Folie" r:id="rId12" imgW="351" imgH="351" progId="TCLayout.ActiveDocument.1">
                  <p:embed/>
                </p:oleObj>
              </mc:Choice>
              <mc:Fallback>
                <p:oleObj name="think-cell Folie" r:id="rId12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sv-SE" sz="29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3483" y="250834"/>
            <a:ext cx="1439749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r>
              <a:rPr lang="nl-BE" smtClean="0"/>
              <a:t>March 16, 2021</a:t>
            </a:r>
            <a:endParaRPr lang="sv-S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03811" y="683999"/>
            <a:ext cx="10046013" cy="864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03812" y="1628800"/>
            <a:ext cx="10046012" cy="416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Klicka här för att ändra format på </a:t>
            </a:r>
            <a:br>
              <a:rPr lang="sv-SE" dirty="0" smtClean="0"/>
            </a:br>
            <a:r>
              <a:rPr lang="sv-SE" dirty="0" smtClean="0"/>
              <a:t>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</a:t>
            </a:r>
            <a:r>
              <a:rPr lang="sv-SE" dirty="0"/>
              <a:t>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6212" y="250834"/>
            <a:ext cx="7198748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429948" y="250834"/>
            <a:ext cx="719876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fld id="{6C25F9FA-A9E7-4A9D-84E9-B8BC8462A9FF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1103811" y="468004"/>
            <a:ext cx="10078249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1072078" y="5949280"/>
            <a:ext cx="10109982" cy="67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60808" y="6028149"/>
            <a:ext cx="1889016" cy="54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>
            <a:extLst>
              <a:ext uri="{FF2B5EF4-FFF2-40B4-BE49-F238E27FC236}">
                <a16:creationId xmlns:a16="http://schemas.microsoft.com/office/drawing/2014/main" id="{E287C8F2-DAA5-4B01-AF13-7B0A535D1496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4727" y="6030529"/>
            <a:ext cx="1740913" cy="638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344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79" r:id="rId7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90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5pPr>
      <a:lvl6pPr marL="414535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6pPr>
      <a:lvl7pPr marL="829068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7pPr>
      <a:lvl8pPr marL="1243603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8pPr>
      <a:lvl9pPr marL="1658139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609604" indent="-285750" algn="l" rtl="0" eaLnBrk="1" fontAlgn="base" hangingPunct="1">
        <a:lnSpc>
          <a:spcPct val="12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51417" indent="-285750" algn="l" rtl="0" eaLnBrk="1" fontAlgn="base" hangingPunct="1">
        <a:lnSpc>
          <a:spcPct val="12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3pPr>
      <a:lvl4pPr marL="1070201" indent="-285750" algn="l" rtl="0" eaLnBrk="1" fontAlgn="base" hangingPunct="1">
        <a:lnSpc>
          <a:spcPct val="12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1300498" indent="-285750" algn="l" rtl="0" eaLnBrk="1" fontAlgn="base" hangingPunct="1">
        <a:lnSpc>
          <a:spcPct val="12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cs typeface="+mn-cs"/>
        </a:defRPr>
      </a:lvl5pPr>
      <a:lvl6pPr marL="1635108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6pPr>
      <a:lvl7pPr marL="2049644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7pPr>
      <a:lvl8pPr marL="2464177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8pPr>
      <a:lvl9pPr marL="2878713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9pPr>
    </p:bodyStyle>
    <p:otherStyle>
      <a:defPPr>
        <a:defRPr lang="sv-SE"/>
      </a:defPPr>
      <a:lvl1pPr marL="0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535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068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603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139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2672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209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1743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6276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4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007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02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solidFill>
            <a:srgbClr val="F2F2F2">
              <a:alpha val="54902"/>
            </a:srgbClr>
          </a:solidFill>
        </p:spPr>
        <p:txBody>
          <a:bodyPr anchor="t"/>
          <a:lstStyle/>
          <a:p>
            <a:pPr>
              <a:lnSpc>
                <a:spcPct val="150000"/>
              </a:lnSpc>
            </a:pPr>
            <a:r>
              <a:rPr lang="en-GB" dirty="0" smtClean="0"/>
              <a:t>Hansa </a:t>
            </a:r>
            <a:r>
              <a:rPr lang="en-GB" dirty="0"/>
              <a:t>PowerBridge</a:t>
            </a:r>
            <a:br>
              <a:rPr lang="en-GB" dirty="0"/>
            </a:br>
            <a:r>
              <a:rPr lang="de-DE" sz="2000" dirty="0" err="1"/>
              <a:t>Procurement</a:t>
            </a:r>
            <a:r>
              <a:rPr lang="de-DE" sz="2000" dirty="0"/>
              <a:t>  </a:t>
            </a:r>
            <a:r>
              <a:rPr lang="de-DE" sz="2000" dirty="0" smtClean="0"/>
              <a:t>Packages </a:t>
            </a:r>
            <a:r>
              <a:rPr lang="de-DE" sz="2000" dirty="0" err="1"/>
              <a:t>Overview</a:t>
            </a:r>
            <a:r>
              <a:rPr lang="en-GB" sz="2000" dirty="0" smtClean="0"/>
              <a:t/>
            </a:r>
            <a:br>
              <a:rPr lang="en-GB" sz="2000" dirty="0" smtClean="0"/>
            </a:br>
            <a:r>
              <a:rPr lang="en-GB" sz="2000" dirty="0" smtClean="0"/>
              <a:t>2021-10-22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898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PB </a:t>
            </a:r>
            <a:r>
              <a:rPr lang="de-DE" dirty="0" err="1" smtClean="0"/>
              <a:t>Procurement</a:t>
            </a:r>
            <a:r>
              <a:rPr lang="de-DE" dirty="0"/>
              <a:t>  </a:t>
            </a:r>
            <a:r>
              <a:rPr lang="de-DE" dirty="0" smtClean="0"/>
              <a:t>Packages </a:t>
            </a:r>
            <a:r>
              <a:rPr lang="de-DE" dirty="0" err="1" smtClean="0"/>
              <a:t>Overview</a:t>
            </a:r>
            <a:endParaRPr lang="sv-SE" dirty="0"/>
          </a:p>
        </p:txBody>
      </p:sp>
      <p:graphicFrame>
        <p:nvGraphicFramePr>
          <p:cNvPr id="7" name="Platshållare för innehåll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92318043"/>
              </p:ext>
            </p:extLst>
          </p:nvPr>
        </p:nvGraphicFramePr>
        <p:xfrm>
          <a:off x="1103811" y="1197398"/>
          <a:ext cx="10078249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5DF6A3-71A4-4141-8675-DE14763EFB72}" type="slidenum">
              <a:rPr lang="sv-SE" smtClean="0"/>
              <a:pPr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8967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92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06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 Package Converter </a:t>
            </a:r>
            <a:r>
              <a:rPr lang="de-DE" dirty="0" err="1"/>
              <a:t>S</a:t>
            </a:r>
            <a:r>
              <a:rPr lang="de-DE" dirty="0" err="1" smtClean="0"/>
              <a:t>tations</a:t>
            </a:r>
            <a:r>
              <a:rPr lang="de-DE" dirty="0" smtClean="0"/>
              <a:t> (</a:t>
            </a:r>
            <a:r>
              <a:rPr lang="de-DE" dirty="0" err="1" smtClean="0"/>
              <a:t>Scope</a:t>
            </a:r>
            <a:r>
              <a:rPr lang="de-DE" dirty="0" smtClean="0"/>
              <a:t>)</a:t>
            </a:r>
            <a:r>
              <a:rPr lang="sv-SE" dirty="0"/>
              <a:t/>
            </a:r>
            <a:br>
              <a:rPr lang="sv-SE" dirty="0"/>
            </a:br>
            <a:endParaRPr lang="nl-BE" dirty="0"/>
          </a:p>
        </p:txBody>
      </p:sp>
      <p:graphicFrame>
        <p:nvGraphicFramePr>
          <p:cNvPr id="2" name="Platshållare för innehåll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6053540"/>
              </p:ext>
            </p:extLst>
          </p:nvPr>
        </p:nvGraphicFramePr>
        <p:xfrm>
          <a:off x="1103811" y="1268760"/>
          <a:ext cx="10078249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5DF6A3-71A4-4141-8675-DE14763EFB72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050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39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ckage </a:t>
            </a:r>
            <a:r>
              <a:rPr lang="de-DE" dirty="0" smtClean="0"/>
              <a:t>Cables </a:t>
            </a:r>
            <a:r>
              <a:rPr lang="de-DE" dirty="0" smtClean="0"/>
              <a:t>(</a:t>
            </a:r>
            <a:r>
              <a:rPr lang="de-DE" dirty="0" err="1" smtClean="0"/>
              <a:t>Scope</a:t>
            </a:r>
            <a:r>
              <a:rPr lang="de-DE" dirty="0" smtClean="0"/>
              <a:t>)</a:t>
            </a:r>
            <a:r>
              <a:rPr lang="sv-SE" dirty="0"/>
              <a:t/>
            </a:r>
            <a:br>
              <a:rPr lang="sv-SE" dirty="0"/>
            </a:br>
            <a:endParaRPr lang="nl-BE" dirty="0"/>
          </a:p>
        </p:txBody>
      </p:sp>
      <p:graphicFrame>
        <p:nvGraphicFramePr>
          <p:cNvPr id="2" name="Platshållare för innehåll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066353"/>
              </p:ext>
            </p:extLst>
          </p:nvPr>
        </p:nvGraphicFramePr>
        <p:xfrm>
          <a:off x="1103811" y="1268760"/>
          <a:ext cx="10078249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BE" smtClean="0"/>
              <a:t>March 16, 2021</a:t>
            </a:r>
            <a:endParaRPr lang="sv-S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smtClean="0"/>
              <a:t>Project Hansa PowerBridge| Event | Moderator</a:t>
            </a:r>
            <a:endParaRPr lang="sv-S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5DF6A3-71A4-4141-8675-DE14763EFB72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0841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Kxl5Sd0weaASfGJgu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MRq7bKO1k2vPS91XN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uFk3ME3LBfrgqNEiJR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GYuT6V4eL6Y6xnIyLS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61xHjyPFAazN7Xf2HAAQ"/>
</p:tagLst>
</file>

<file path=ppt/theme/theme1.xml><?xml version="1.0" encoding="utf-8"?>
<a:theme xmlns:a="http://schemas.openxmlformats.org/drawingml/2006/main" name="1_Bredbild 16:9">
  <a:themeElements>
    <a:clrScheme name="SvK">
      <a:dk1>
        <a:srgbClr val="333333"/>
      </a:dk1>
      <a:lt1>
        <a:srgbClr val="FFFFFF"/>
      </a:lt1>
      <a:dk2>
        <a:srgbClr val="565656"/>
      </a:dk2>
      <a:lt2>
        <a:srgbClr val="959595"/>
      </a:lt2>
      <a:accent1>
        <a:srgbClr val="1D599B"/>
      </a:accent1>
      <a:accent2>
        <a:srgbClr val="497633"/>
      </a:accent2>
      <a:accent3>
        <a:srgbClr val="5E256C"/>
      </a:accent3>
      <a:accent4>
        <a:srgbClr val="CA8617"/>
      </a:accent4>
      <a:accent5>
        <a:srgbClr val="B01746"/>
      </a:accent5>
      <a:accent6>
        <a:srgbClr val="363636"/>
      </a:accent6>
      <a:hlink>
        <a:srgbClr val="1D6684"/>
      </a:hlink>
      <a:folHlink>
        <a:srgbClr val="003F55"/>
      </a:folHlink>
    </a:clrScheme>
    <a:fontScheme name="Sv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vK_Bredbild.potx" id="{2CC3D09D-4E0C-44A4-9B20-C8B71823AEF0}" vid="{AE11D1C8-B50D-48BB-919C-F96F3459381E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50Hertz_PowerPoint_Vorlage</Template>
  <TotalTime>0</TotalTime>
  <Words>251</Words>
  <Application>Microsoft Office PowerPoint</Application>
  <PresentationFormat>Breitbild</PresentationFormat>
  <Paragraphs>47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8" baseType="lpstr">
      <vt:lpstr>Arial</vt:lpstr>
      <vt:lpstr>Calibri</vt:lpstr>
      <vt:lpstr>1_Bredbild 16:9</vt:lpstr>
      <vt:lpstr>think-cell Folie</vt:lpstr>
      <vt:lpstr>Hansa PowerBridge Procurement  Packages Overview 2021-10-22 </vt:lpstr>
      <vt:lpstr>HPB Procurement  Packages Overview</vt:lpstr>
      <vt:lpstr> Package Converter Stations (Scope) </vt:lpstr>
      <vt:lpstr>Package Cables (Scope) </vt:lpstr>
    </vt:vector>
  </TitlesOfParts>
  <Company>50H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reklow-Eckelmann Carola (50HzT TO)</dc:creator>
  <cp:lastModifiedBy>Liebrenz Matti (50HzT GPP)</cp:lastModifiedBy>
  <cp:revision>384</cp:revision>
  <cp:lastPrinted>2020-03-31T15:11:48Z</cp:lastPrinted>
  <dcterms:created xsi:type="dcterms:W3CDTF">2020-02-13T13:56:16Z</dcterms:created>
  <dcterms:modified xsi:type="dcterms:W3CDTF">2021-11-19T08:4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1-18T00:00:00Z</vt:filetime>
  </property>
  <property fmtid="{D5CDD505-2E9C-101B-9397-08002B2CF9AE}" pid="3" name="Creator">
    <vt:lpwstr>Adobe InDesign CS6 (Macintosh)</vt:lpwstr>
  </property>
  <property fmtid="{D5CDD505-2E9C-101B-9397-08002B2CF9AE}" pid="4" name="LastSaved">
    <vt:filetime>2019-01-18T00:00:00Z</vt:filetime>
  </property>
</Properties>
</file>